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0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1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2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7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9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1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sldIdLst>
    <p:sldId id="1188" r:id="rId2"/>
    <p:sldId id="1179" r:id="rId3"/>
    <p:sldId id="1243" r:id="rId4"/>
    <p:sldId id="1181" r:id="rId5"/>
    <p:sldId id="1192" r:id="rId6"/>
    <p:sldId id="1209" r:id="rId7"/>
    <p:sldId id="1180" r:id="rId8"/>
    <p:sldId id="1231" r:id="rId9"/>
    <p:sldId id="1236" r:id="rId10"/>
    <p:sldId id="1239" r:id="rId11"/>
    <p:sldId id="1240" r:id="rId12"/>
    <p:sldId id="1241" r:id="rId13"/>
    <p:sldId id="1242" r:id="rId14"/>
    <p:sldId id="1184" r:id="rId15"/>
    <p:sldId id="1207" r:id="rId16"/>
    <p:sldId id="1208" r:id="rId17"/>
    <p:sldId id="1193" r:id="rId18"/>
    <p:sldId id="1201" r:id="rId19"/>
    <p:sldId id="1185" r:id="rId20"/>
    <p:sldId id="1253" r:id="rId21"/>
    <p:sldId id="1254" r:id="rId22"/>
    <p:sldId id="1257" r:id="rId23"/>
    <p:sldId id="1255" r:id="rId24"/>
    <p:sldId id="1258" r:id="rId25"/>
    <p:sldId id="1262" r:id="rId26"/>
    <p:sldId id="1263" r:id="rId27"/>
    <p:sldId id="1264" r:id="rId28"/>
  </p:sldIdLst>
  <p:sldSz cx="12192000" cy="6858000"/>
  <p:notesSz cx="6858000" cy="9144000"/>
  <p:custDataLst>
    <p:tags r:id="rId3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AED"/>
    <a:srgbClr val="F797B0"/>
    <a:srgbClr val="CDD1D9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67" autoAdjust="0"/>
    <p:restoredTop sz="96327" autoAdjust="0"/>
  </p:normalViewPr>
  <p:slideViewPr>
    <p:cSldViewPr snapToGrid="0">
      <p:cViewPr varScale="1">
        <p:scale>
          <a:sx n="115" d="100"/>
          <a:sy n="115" d="100"/>
        </p:scale>
        <p:origin x="420" y="78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.02.2022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2</c:f>
              <c:strCache>
                <c:ptCount val="31"/>
                <c:pt idx="0">
                  <c:v>Island</c:v>
                </c:pt>
                <c:pt idx="1">
                  <c:v>Lotyšsko</c:v>
                </c:pt>
                <c:pt idx="2">
                  <c:v>Lichtenštejnsko</c:v>
                </c:pt>
                <c:pt idx="3">
                  <c:v>Dánsko</c:v>
                </c:pt>
                <c:pt idx="4">
                  <c:v>Rakousko</c:v>
                </c:pt>
                <c:pt idx="5">
                  <c:v>Estonsko</c:v>
                </c:pt>
                <c:pt idx="6">
                  <c:v>Nizozemsko</c:v>
                </c:pt>
                <c:pt idx="7">
                  <c:v>Slovensko</c:v>
                </c:pt>
                <c:pt idx="8">
                  <c:v>Litva</c:v>
                </c:pt>
                <c:pt idx="9">
                  <c:v>Kypr</c:v>
                </c:pt>
                <c:pt idx="10">
                  <c:v>Norsko</c:v>
                </c:pt>
                <c:pt idx="11">
                  <c:v>Německo</c:v>
                </c:pt>
                <c:pt idx="12">
                  <c:v>Řecko</c:v>
                </c:pt>
                <c:pt idx="13">
                  <c:v>Lucembursko</c:v>
                </c:pt>
                <c:pt idx="14">
                  <c:v>Portugalsko</c:v>
                </c:pt>
                <c:pt idx="15">
                  <c:v>Slovinsko</c:v>
                </c:pt>
                <c:pt idx="16">
                  <c:v>Francie</c:v>
                </c:pt>
                <c:pt idx="17">
                  <c:v>Česká republika</c:v>
                </c:pt>
                <c:pt idx="18">
                  <c:v>Finsko</c:v>
                </c:pt>
                <c:pt idx="19">
                  <c:v>Irsko</c:v>
                </c:pt>
                <c:pt idx="20">
                  <c:v>Velká Británie</c:v>
                </c:pt>
                <c:pt idx="21">
                  <c:v>Itálie</c:v>
                </c:pt>
                <c:pt idx="22">
                  <c:v>Belgie</c:v>
                </c:pt>
                <c:pt idx="23">
                  <c:v>Chorvatsko</c:v>
                </c:pt>
                <c:pt idx="24">
                  <c:v>Bulharsko</c:v>
                </c:pt>
                <c:pt idx="25">
                  <c:v>Polsko</c:v>
                </c:pt>
                <c:pt idx="26">
                  <c:v>Rumunsko</c:v>
                </c:pt>
                <c:pt idx="27">
                  <c:v>Maďarsko</c:v>
                </c:pt>
                <c:pt idx="28">
                  <c:v>Španělsko</c:v>
                </c:pt>
                <c:pt idx="29">
                  <c:v>Švédsko</c:v>
                </c:pt>
                <c:pt idx="30">
                  <c:v>Malta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8556.7401011715465</c:v>
                </c:pt>
                <c:pt idx="1">
                  <c:v>7120.6573446734892</c:v>
                </c:pt>
                <c:pt idx="2">
                  <c:v>3685.4466152218233</c:v>
                </c:pt>
                <c:pt idx="3">
                  <c:v>9875.1915542501047</c:v>
                </c:pt>
                <c:pt idx="4">
                  <c:v>4634.4122455472734</c:v>
                </c:pt>
                <c:pt idx="5">
                  <c:v>5807.9303162735823</c:v>
                </c:pt>
                <c:pt idx="6">
                  <c:v>6916.3413534961919</c:v>
                </c:pt>
                <c:pt idx="7">
                  <c:v>4777.795305973591</c:v>
                </c:pt>
                <c:pt idx="8">
                  <c:v>7250.0885798238423</c:v>
                </c:pt>
                <c:pt idx="9">
                  <c:v>3766.3076221417673</c:v>
                </c:pt>
                <c:pt idx="10">
                  <c:v>4300.4482466959034</c:v>
                </c:pt>
                <c:pt idx="11">
                  <c:v>2999.8745531730842</c:v>
                </c:pt>
                <c:pt idx="12">
                  <c:v>2325.3206002855795</c:v>
                </c:pt>
                <c:pt idx="13">
                  <c:v>1537.9135867933328</c:v>
                </c:pt>
                <c:pt idx="14">
                  <c:v>2527.3630526454731</c:v>
                </c:pt>
                <c:pt idx="15">
                  <c:v>3813.3731196868498</c:v>
                </c:pt>
                <c:pt idx="16">
                  <c:v>2378.2647993880473</c:v>
                </c:pt>
                <c:pt idx="17">
                  <c:v>2487.0536478653939</c:v>
                </c:pt>
                <c:pt idx="18">
                  <c:v>1585.0203029993709</c:v>
                </c:pt>
                <c:pt idx="19">
                  <c:v>1132.0108612451756</c:v>
                </c:pt>
                <c:pt idx="20">
                  <c:v>1179.0017855310698</c:v>
                </c:pt>
                <c:pt idx="21">
                  <c:v>1321.5699782674772</c:v>
                </c:pt>
                <c:pt idx="22">
                  <c:v>1428.6296999593835</c:v>
                </c:pt>
                <c:pt idx="23">
                  <c:v>1415.2209188142917</c:v>
                </c:pt>
                <c:pt idx="24">
                  <c:v>1052.4086806237865</c:v>
                </c:pt>
                <c:pt idx="25">
                  <c:v>990.44900463768795</c:v>
                </c:pt>
                <c:pt idx="26">
                  <c:v>1223.9742502886102</c:v>
                </c:pt>
                <c:pt idx="27">
                  <c:v>1116.9938029746786</c:v>
                </c:pt>
                <c:pt idx="28">
                  <c:v>837.43737457643908</c:v>
                </c:pt>
                <c:pt idx="29">
                  <c:v>818.44852656316971</c:v>
                </c:pt>
                <c:pt idx="30">
                  <c:v>283.73535653485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06.03.202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Island</c:v>
                </c:pt>
                <c:pt idx="1">
                  <c:v>Lotyšsko</c:v>
                </c:pt>
                <c:pt idx="2">
                  <c:v>Lichtenštejnsko</c:v>
                </c:pt>
                <c:pt idx="3">
                  <c:v>Dánsko</c:v>
                </c:pt>
                <c:pt idx="4">
                  <c:v>Rakousko</c:v>
                </c:pt>
                <c:pt idx="5">
                  <c:v>Estonsko</c:v>
                </c:pt>
                <c:pt idx="6">
                  <c:v>Nizozemsko</c:v>
                </c:pt>
                <c:pt idx="7">
                  <c:v>Slovensko</c:v>
                </c:pt>
                <c:pt idx="8">
                  <c:v>Litva</c:v>
                </c:pt>
                <c:pt idx="9">
                  <c:v>Kypr</c:v>
                </c:pt>
                <c:pt idx="10">
                  <c:v>Norsko</c:v>
                </c:pt>
                <c:pt idx="11">
                  <c:v>Německo</c:v>
                </c:pt>
                <c:pt idx="12">
                  <c:v>Řecko</c:v>
                </c:pt>
                <c:pt idx="13">
                  <c:v>Lucembursko</c:v>
                </c:pt>
                <c:pt idx="14">
                  <c:v>Portugalsko</c:v>
                </c:pt>
                <c:pt idx="15">
                  <c:v>Slovinsko</c:v>
                </c:pt>
                <c:pt idx="16">
                  <c:v>Francie</c:v>
                </c:pt>
                <c:pt idx="17">
                  <c:v>Česká republika</c:v>
                </c:pt>
                <c:pt idx="18">
                  <c:v>Finsko</c:v>
                </c:pt>
                <c:pt idx="19">
                  <c:v>Irsko</c:v>
                </c:pt>
                <c:pt idx="20">
                  <c:v>Velká Británie</c:v>
                </c:pt>
                <c:pt idx="21">
                  <c:v>Itálie</c:v>
                </c:pt>
                <c:pt idx="22">
                  <c:v>Belgie</c:v>
                </c:pt>
                <c:pt idx="23">
                  <c:v>Chorvatsko</c:v>
                </c:pt>
                <c:pt idx="24">
                  <c:v>Bulharsko</c:v>
                </c:pt>
                <c:pt idx="25">
                  <c:v>Polsko</c:v>
                </c:pt>
                <c:pt idx="26">
                  <c:v>Rumunsko</c:v>
                </c:pt>
                <c:pt idx="27">
                  <c:v>Maďarsko</c:v>
                </c:pt>
                <c:pt idx="28">
                  <c:v>Španělsko</c:v>
                </c:pt>
                <c:pt idx="29">
                  <c:v>Švédsko</c:v>
                </c:pt>
                <c:pt idx="30">
                  <c:v>Malta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8298.3187507895454</c:v>
                </c:pt>
                <c:pt idx="1">
                  <c:v>6059.5227174440088</c:v>
                </c:pt>
                <c:pt idx="2">
                  <c:v>4877.796990734767</c:v>
                </c:pt>
                <c:pt idx="3">
                  <c:v>4682.2101466262666</c:v>
                </c:pt>
                <c:pt idx="4">
                  <c:v>4531.6267807983404</c:v>
                </c:pt>
                <c:pt idx="5">
                  <c:v>4092.0979761861763</c:v>
                </c:pt>
                <c:pt idx="6">
                  <c:v>3594.7720490809033</c:v>
                </c:pt>
                <c:pt idx="7">
                  <c:v>3113.6305296953592</c:v>
                </c:pt>
                <c:pt idx="8">
                  <c:v>2875.2831870125874</c:v>
                </c:pt>
                <c:pt idx="9">
                  <c:v>2852.7992522564628</c:v>
                </c:pt>
                <c:pt idx="10">
                  <c:v>2743.0983795304401</c:v>
                </c:pt>
                <c:pt idx="11">
                  <c:v>2628.365332374392</c:v>
                </c:pt>
                <c:pt idx="12">
                  <c:v>1939.690620899346</c:v>
                </c:pt>
                <c:pt idx="13">
                  <c:v>1558.51706095434</c:v>
                </c:pt>
                <c:pt idx="14">
                  <c:v>1404.5772937581326</c:v>
                </c:pt>
                <c:pt idx="15">
                  <c:v>1149.933130107388</c:v>
                </c:pt>
                <c:pt idx="16">
                  <c:v>1149.5536496793177</c:v>
                </c:pt>
                <c:pt idx="17">
                  <c:v>1132.7350941500601</c:v>
                </c:pt>
                <c:pt idx="18">
                  <c:v>1051.8539110693155</c:v>
                </c:pt>
                <c:pt idx="19">
                  <c:v>944.77927016944511</c:v>
                </c:pt>
                <c:pt idx="20">
                  <c:v>939.68599378461863</c:v>
                </c:pt>
                <c:pt idx="21">
                  <c:v>769.26484463298436</c:v>
                </c:pt>
                <c:pt idx="22">
                  <c:v>761.56612661901477</c:v>
                </c:pt>
                <c:pt idx="23">
                  <c:v>557.29621639336995</c:v>
                </c:pt>
                <c:pt idx="24">
                  <c:v>494.82973558731788</c:v>
                </c:pt>
                <c:pt idx="25">
                  <c:v>484.56012252234291</c:v>
                </c:pt>
                <c:pt idx="26">
                  <c:v>484.05393019487252</c:v>
                </c:pt>
                <c:pt idx="27">
                  <c:v>473.03216143751496</c:v>
                </c:pt>
                <c:pt idx="28">
                  <c:v>440.62430188199619</c:v>
                </c:pt>
                <c:pt idx="29">
                  <c:v>292.31411126062437</c:v>
                </c:pt>
                <c:pt idx="30">
                  <c:v>231.06941021913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1</c:f>
              <c:strCache>
                <c:ptCount val="30"/>
                <c:pt idx="0">
                  <c:v>Bulharsko</c:v>
                </c:pt>
                <c:pt idx="1">
                  <c:v>Maďarsko</c:v>
                </c:pt>
                <c:pt idx="2">
                  <c:v>Rumunsko</c:v>
                </c:pt>
                <c:pt idx="3">
                  <c:v>Polsko</c:v>
                </c:pt>
                <c:pt idx="4">
                  <c:v>Chorvatsko</c:v>
                </c:pt>
                <c:pt idx="5">
                  <c:v>Itálie</c:v>
                </c:pt>
                <c:pt idx="6">
                  <c:v>Česká republika</c:v>
                </c:pt>
                <c:pt idx="7">
                  <c:v>Řecko</c:v>
                </c:pt>
                <c:pt idx="8">
                  <c:v>Slovensko</c:v>
                </c:pt>
                <c:pt idx="9">
                  <c:v>Španělsko</c:v>
                </c:pt>
                <c:pt idx="10">
                  <c:v>Malta</c:v>
                </c:pt>
                <c:pt idx="11">
                  <c:v>Belgie</c:v>
                </c:pt>
                <c:pt idx="12">
                  <c:v>Lotyšsko</c:v>
                </c:pt>
                <c:pt idx="13">
                  <c:v>Německo</c:v>
                </c:pt>
                <c:pt idx="14">
                  <c:v>Švédsko</c:v>
                </c:pt>
                <c:pt idx="15">
                  <c:v>Litva</c:v>
                </c:pt>
                <c:pt idx="16">
                  <c:v>Slovinsko</c:v>
                </c:pt>
                <c:pt idx="17">
                  <c:v>Francie</c:v>
                </c:pt>
                <c:pt idx="18">
                  <c:v>Portugalsko</c:v>
                </c:pt>
                <c:pt idx="19">
                  <c:v>Lichtenštejnsko</c:v>
                </c:pt>
                <c:pt idx="20">
                  <c:v>Lucembursko</c:v>
                </c:pt>
                <c:pt idx="21">
                  <c:v>Irsko</c:v>
                </c:pt>
                <c:pt idx="22">
                  <c:v>Rakousko</c:v>
                </c:pt>
                <c:pt idx="23">
                  <c:v>Estonsko</c:v>
                </c:pt>
                <c:pt idx="24">
                  <c:v>Finsko</c:v>
                </c:pt>
                <c:pt idx="25">
                  <c:v>Nizozemsko</c:v>
                </c:pt>
                <c:pt idx="26">
                  <c:v>Kypr</c:v>
                </c:pt>
                <c:pt idx="27">
                  <c:v>Dánsko</c:v>
                </c:pt>
                <c:pt idx="28">
                  <c:v>Norsko</c:v>
                </c:pt>
                <c:pt idx="29">
                  <c:v>Island</c:v>
                </c:pt>
              </c:strCache>
            </c:strRef>
          </c:cat>
          <c:val>
            <c:numRef>
              <c:f>List1!$B$2:$B$31</c:f>
              <c:numCache>
                <c:formatCode>0.00%</c:formatCode>
                <c:ptCount val="30"/>
                <c:pt idx="0">
                  <c:v>3.2531469979860304E-2</c:v>
                </c:pt>
                <c:pt idx="1">
                  <c:v>2.3954874336855524E-2</c:v>
                </c:pt>
                <c:pt idx="2">
                  <c:v>2.2390587126437291E-2</c:v>
                </c:pt>
                <c:pt idx="3">
                  <c:v>1.9625745081527715E-2</c:v>
                </c:pt>
                <c:pt idx="4">
                  <c:v>1.4301278128557342E-2</c:v>
                </c:pt>
                <c:pt idx="5">
                  <c:v>1.2098929531867426E-2</c:v>
                </c:pt>
                <c:pt idx="6">
                  <c:v>1.0729212271765565E-2</c:v>
                </c:pt>
                <c:pt idx="7">
                  <c:v>1.0431531814879774E-2</c:v>
                </c:pt>
                <c:pt idx="8">
                  <c:v>9.4470085651396085E-3</c:v>
                </c:pt>
                <c:pt idx="9">
                  <c:v>9.0156274054127052E-3</c:v>
                </c:pt>
                <c:pt idx="10">
                  <c:v>8.4684383531115938E-3</c:v>
                </c:pt>
                <c:pt idx="11">
                  <c:v>8.2905477463785012E-3</c:v>
                </c:pt>
                <c:pt idx="12">
                  <c:v>8.2689747383605742E-3</c:v>
                </c:pt>
                <c:pt idx="13">
                  <c:v>7.8161130640576441E-3</c:v>
                </c:pt>
                <c:pt idx="14">
                  <c:v>7.0885997718181607E-3</c:v>
                </c:pt>
                <c:pt idx="15">
                  <c:v>7.0465637694993519E-3</c:v>
                </c:pt>
                <c:pt idx="16">
                  <c:v>7.0351447660977444E-3</c:v>
                </c:pt>
                <c:pt idx="17">
                  <c:v>6.6348913691885976E-3</c:v>
                </c:pt>
                <c:pt idx="18">
                  <c:v>6.356205787068454E-3</c:v>
                </c:pt>
                <c:pt idx="19">
                  <c:v>5.9619353359321257E-3</c:v>
                </c:pt>
                <c:pt idx="20">
                  <c:v>5.2377465913687263E-3</c:v>
                </c:pt>
                <c:pt idx="21">
                  <c:v>4.9469515007873766E-3</c:v>
                </c:pt>
                <c:pt idx="22">
                  <c:v>4.9457592942312428E-3</c:v>
                </c:pt>
                <c:pt idx="23">
                  <c:v>4.3499997012362845E-3</c:v>
                </c:pt>
                <c:pt idx="24">
                  <c:v>3.6775793438100753E-3</c:v>
                </c:pt>
                <c:pt idx="25">
                  <c:v>3.2236889479336141E-3</c:v>
                </c:pt>
                <c:pt idx="26">
                  <c:v>2.9090055833654216E-3</c:v>
                </c:pt>
                <c:pt idx="27">
                  <c:v>1.5680918461033479E-3</c:v>
                </c:pt>
                <c:pt idx="28">
                  <c:v>1.3552497194209566E-3</c:v>
                </c:pt>
                <c:pt idx="29">
                  <c:v>5.0238994071798702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Portugalsko</c:v>
                </c:pt>
                <c:pt idx="1">
                  <c:v>Irsko</c:v>
                </c:pt>
                <c:pt idx="2">
                  <c:v>Francie</c:v>
                </c:pt>
                <c:pt idx="3">
                  <c:v>Malta</c:v>
                </c:pt>
                <c:pt idx="4">
                  <c:v>Norsko</c:v>
                </c:pt>
                <c:pt idx="5">
                  <c:v>Španělsko</c:v>
                </c:pt>
                <c:pt idx="6">
                  <c:v>Island</c:v>
                </c:pt>
                <c:pt idx="7">
                  <c:v>Dánsko</c:v>
                </c:pt>
                <c:pt idx="8">
                  <c:v>Itálie</c:v>
                </c:pt>
                <c:pt idx="9">
                  <c:v>Německo</c:v>
                </c:pt>
                <c:pt idx="10">
                  <c:v>Finsko</c:v>
                </c:pt>
                <c:pt idx="11">
                  <c:v>Belgie</c:v>
                </c:pt>
                <c:pt idx="12">
                  <c:v>Nizozemsko</c:v>
                </c:pt>
                <c:pt idx="13">
                  <c:v>Švédsko</c:v>
                </c:pt>
                <c:pt idx="14">
                  <c:v>Kypr</c:v>
                </c:pt>
                <c:pt idx="15">
                  <c:v>Rakousko</c:v>
                </c:pt>
                <c:pt idx="16">
                  <c:v>Lucembursko</c:v>
                </c:pt>
                <c:pt idx="17">
                  <c:v>Řecko</c:v>
                </c:pt>
                <c:pt idx="18">
                  <c:v>Litva</c:v>
                </c:pt>
                <c:pt idx="19">
                  <c:v>Lichtenštejnsko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Chorvatsko</c:v>
                </c:pt>
                <c:pt idx="26">
                  <c:v>Pol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1</c:v>
                </c:pt>
                <c:pt idx="1">
                  <c:v>0.95399999999999996</c:v>
                </c:pt>
                <c:pt idx="2">
                  <c:v>0.94799999999999995</c:v>
                </c:pt>
                <c:pt idx="3">
                  <c:v>0.94799999999999995</c:v>
                </c:pt>
                <c:pt idx="4">
                  <c:v>0.93899999999999995</c:v>
                </c:pt>
                <c:pt idx="5">
                  <c:v>0.93300000000000005</c:v>
                </c:pt>
                <c:pt idx="6">
                  <c:v>0.93200000000000005</c:v>
                </c:pt>
                <c:pt idx="7">
                  <c:v>0.92200000000000004</c:v>
                </c:pt>
                <c:pt idx="8">
                  <c:v>0.91700000000000004</c:v>
                </c:pt>
                <c:pt idx="9">
                  <c:v>0.91400000000000003</c:v>
                </c:pt>
                <c:pt idx="10">
                  <c:v>0.90300000000000002</c:v>
                </c:pt>
                <c:pt idx="11">
                  <c:v>0.89800000000000002</c:v>
                </c:pt>
                <c:pt idx="12">
                  <c:v>0.89400000000000002</c:v>
                </c:pt>
                <c:pt idx="13">
                  <c:v>0.89</c:v>
                </c:pt>
                <c:pt idx="14">
                  <c:v>0.86399999999999999</c:v>
                </c:pt>
                <c:pt idx="15">
                  <c:v>0.85599999999999998</c:v>
                </c:pt>
                <c:pt idx="16">
                  <c:v>0.84</c:v>
                </c:pt>
                <c:pt idx="17">
                  <c:v>0.83299999999999996</c:v>
                </c:pt>
                <c:pt idx="18">
                  <c:v>0.80900000000000005</c:v>
                </c:pt>
                <c:pt idx="19">
                  <c:v>0.79800000000000004</c:v>
                </c:pt>
                <c:pt idx="20">
                  <c:v>0.78600000000000003</c:v>
                </c:pt>
                <c:pt idx="21">
                  <c:v>0.751</c:v>
                </c:pt>
                <c:pt idx="22">
                  <c:v>0.73399999999999999</c:v>
                </c:pt>
                <c:pt idx="23">
                  <c:v>0.73199999999999998</c:v>
                </c:pt>
                <c:pt idx="24">
                  <c:v>0.69399999999999995</c:v>
                </c:pt>
                <c:pt idx="25">
                  <c:v>0.67600000000000005</c:v>
                </c:pt>
                <c:pt idx="26">
                  <c:v>0.66800000000000004</c:v>
                </c:pt>
                <c:pt idx="27">
                  <c:v>0.60899999999999999</c:v>
                </c:pt>
                <c:pt idx="28">
                  <c:v>0.503</c:v>
                </c:pt>
                <c:pt idx="29">
                  <c:v>0.355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Francie</c:v>
                </c:pt>
                <c:pt idx="2">
                  <c:v>Portugalsko</c:v>
                </c:pt>
                <c:pt idx="3">
                  <c:v>Malta</c:v>
                </c:pt>
                <c:pt idx="4">
                  <c:v>Island</c:v>
                </c:pt>
                <c:pt idx="5">
                  <c:v>Dánsko</c:v>
                </c:pt>
                <c:pt idx="6">
                  <c:v>Norsko</c:v>
                </c:pt>
                <c:pt idx="7">
                  <c:v>Německo</c:v>
                </c:pt>
                <c:pt idx="8">
                  <c:v>Belgie</c:v>
                </c:pt>
                <c:pt idx="9">
                  <c:v>Finsko</c:v>
                </c:pt>
                <c:pt idx="10">
                  <c:v>Švédsko</c:v>
                </c:pt>
                <c:pt idx="11">
                  <c:v>Kypr</c:v>
                </c:pt>
                <c:pt idx="12">
                  <c:v>Itálie</c:v>
                </c:pt>
                <c:pt idx="13">
                  <c:v>Španělsko</c:v>
                </c:pt>
                <c:pt idx="14">
                  <c:v>Rakousko</c:v>
                </c:pt>
                <c:pt idx="15">
                  <c:v>Lucembursko</c:v>
                </c:pt>
                <c:pt idx="16">
                  <c:v>Nizozemsko</c:v>
                </c:pt>
                <c:pt idx="17">
                  <c:v>Lichtenštejnsko</c:v>
                </c:pt>
                <c:pt idx="18">
                  <c:v>Řecko</c:v>
                </c:pt>
                <c:pt idx="19">
                  <c:v>Litva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4599999999999995</c:v>
                </c:pt>
                <c:pt idx="1">
                  <c:v>0.94499999999999995</c:v>
                </c:pt>
                <c:pt idx="2">
                  <c:v>0.94199999999999995</c:v>
                </c:pt>
                <c:pt idx="3">
                  <c:v>0.93899999999999995</c:v>
                </c:pt>
                <c:pt idx="4">
                  <c:v>0.92300000000000004</c:v>
                </c:pt>
                <c:pt idx="5">
                  <c:v>0.92300000000000004</c:v>
                </c:pt>
                <c:pt idx="6">
                  <c:v>0.91700000000000004</c:v>
                </c:pt>
                <c:pt idx="7">
                  <c:v>0.90400000000000003</c:v>
                </c:pt>
                <c:pt idx="8">
                  <c:v>0.89</c:v>
                </c:pt>
                <c:pt idx="9">
                  <c:v>0.877</c:v>
                </c:pt>
                <c:pt idx="10">
                  <c:v>0.871</c:v>
                </c:pt>
                <c:pt idx="11">
                  <c:v>0.86699999999999999</c:v>
                </c:pt>
                <c:pt idx="12">
                  <c:v>0.86399999999999999</c:v>
                </c:pt>
                <c:pt idx="13">
                  <c:v>0.85799999999999998</c:v>
                </c:pt>
                <c:pt idx="14">
                  <c:v>0.83099999999999996</c:v>
                </c:pt>
                <c:pt idx="15">
                  <c:v>0.82899999999999996</c:v>
                </c:pt>
                <c:pt idx="16">
                  <c:v>0.82699999999999996</c:v>
                </c:pt>
                <c:pt idx="17">
                  <c:v>0.81699999999999995</c:v>
                </c:pt>
                <c:pt idx="18">
                  <c:v>0.81299999999999994</c:v>
                </c:pt>
                <c:pt idx="19">
                  <c:v>0.78900000000000003</c:v>
                </c:pt>
                <c:pt idx="20">
                  <c:v>0.77</c:v>
                </c:pt>
                <c:pt idx="21">
                  <c:v>0.74199999999999999</c:v>
                </c:pt>
                <c:pt idx="22">
                  <c:v>0.73</c:v>
                </c:pt>
                <c:pt idx="23">
                  <c:v>0.70899999999999996</c:v>
                </c:pt>
                <c:pt idx="24">
                  <c:v>0.67700000000000005</c:v>
                </c:pt>
                <c:pt idx="25">
                  <c:v>0.66100000000000003</c:v>
                </c:pt>
                <c:pt idx="26">
                  <c:v>0.65400000000000003</c:v>
                </c:pt>
                <c:pt idx="27">
                  <c:v>0.59799999999999998</c:v>
                </c:pt>
                <c:pt idx="28">
                  <c:v>0.499</c:v>
                </c:pt>
                <c:pt idx="29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Francie</c:v>
                </c:pt>
                <c:pt idx="1">
                  <c:v>Island</c:v>
                </c:pt>
                <c:pt idx="2">
                  <c:v>Malta</c:v>
                </c:pt>
                <c:pt idx="3">
                  <c:v>Dánsko</c:v>
                </c:pt>
                <c:pt idx="4">
                  <c:v>Belgie</c:v>
                </c:pt>
                <c:pt idx="5">
                  <c:v>Irsko</c:v>
                </c:pt>
                <c:pt idx="6">
                  <c:v>Portugalsko</c:v>
                </c:pt>
                <c:pt idx="7">
                  <c:v>Itálie</c:v>
                </c:pt>
                <c:pt idx="8">
                  <c:v>Německo</c:v>
                </c:pt>
                <c:pt idx="9">
                  <c:v>Norsko</c:v>
                </c:pt>
                <c:pt idx="10">
                  <c:v>Rakousko</c:v>
                </c:pt>
                <c:pt idx="11">
                  <c:v>Lucembursko</c:v>
                </c:pt>
                <c:pt idx="12">
                  <c:v>Nizozemsko</c:v>
                </c:pt>
                <c:pt idx="13">
                  <c:v>Finsko</c:v>
                </c:pt>
                <c:pt idx="14">
                  <c:v>Španělsko</c:v>
                </c:pt>
                <c:pt idx="15">
                  <c:v>Švédsko</c:v>
                </c:pt>
                <c:pt idx="16">
                  <c:v>Kypr</c:v>
                </c:pt>
                <c:pt idx="17">
                  <c:v>Řecko</c:v>
                </c:pt>
                <c:pt idx="18">
                  <c:v>Lichtenštejnsko</c:v>
                </c:pt>
                <c:pt idx="19">
                  <c:v>Maďarsko</c:v>
                </c:pt>
                <c:pt idx="20">
                  <c:v>Česká republika</c:v>
                </c:pt>
                <c:pt idx="21">
                  <c:v>Estonsko</c:v>
                </c:pt>
                <c:pt idx="22">
                  <c:v>Litva</c:v>
                </c:pt>
                <c:pt idx="23">
                  <c:v>Slovensko</c:v>
                </c:pt>
                <c:pt idx="24">
                  <c:v>Slovinsko</c:v>
                </c:pt>
                <c:pt idx="25">
                  <c:v>Polsko</c:v>
                </c:pt>
                <c:pt idx="26">
                  <c:v>Lotyšsko</c:v>
                </c:pt>
                <c:pt idx="27">
                  <c:v>Chorvatsko</c:v>
                </c:pt>
                <c:pt idx="28">
                  <c:v>Bulharsko</c:v>
                </c:pt>
                <c:pt idx="29">
                  <c:v>Rumun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877</c:v>
                </c:pt>
                <c:pt idx="1">
                  <c:v>0.85899999999999999</c:v>
                </c:pt>
                <c:pt idx="2">
                  <c:v>0.78400000000000003</c:v>
                </c:pt>
                <c:pt idx="3">
                  <c:v>0.77100000000000002</c:v>
                </c:pt>
                <c:pt idx="4">
                  <c:v>0.747</c:v>
                </c:pt>
                <c:pt idx="5">
                  <c:v>0.73799999999999999</c:v>
                </c:pt>
                <c:pt idx="6">
                  <c:v>0.72299999999999998</c:v>
                </c:pt>
                <c:pt idx="7">
                  <c:v>0.72299999999999998</c:v>
                </c:pt>
                <c:pt idx="8">
                  <c:v>0.68700000000000006</c:v>
                </c:pt>
                <c:pt idx="9">
                  <c:v>0.68</c:v>
                </c:pt>
                <c:pt idx="10">
                  <c:v>0.66800000000000004</c:v>
                </c:pt>
                <c:pt idx="11">
                  <c:v>0.66100000000000003</c:v>
                </c:pt>
                <c:pt idx="12">
                  <c:v>0.64</c:v>
                </c:pt>
                <c:pt idx="13">
                  <c:v>0.622</c:v>
                </c:pt>
                <c:pt idx="14">
                  <c:v>0.62</c:v>
                </c:pt>
                <c:pt idx="15">
                  <c:v>0.61499999999999999</c:v>
                </c:pt>
                <c:pt idx="16">
                  <c:v>0.60199999999999998</c:v>
                </c:pt>
                <c:pt idx="17">
                  <c:v>0.59799999999999998</c:v>
                </c:pt>
                <c:pt idx="18">
                  <c:v>0.55900000000000005</c:v>
                </c:pt>
                <c:pt idx="19">
                  <c:v>0.46400000000000002</c:v>
                </c:pt>
                <c:pt idx="20">
                  <c:v>0.45800000000000002</c:v>
                </c:pt>
                <c:pt idx="21">
                  <c:v>0.40200000000000002</c:v>
                </c:pt>
                <c:pt idx="22">
                  <c:v>0.38</c:v>
                </c:pt>
                <c:pt idx="23">
                  <c:v>0.36499999999999999</c:v>
                </c:pt>
                <c:pt idx="24">
                  <c:v>0.36399999999999999</c:v>
                </c:pt>
                <c:pt idx="25">
                  <c:v>0.36299999999999999</c:v>
                </c:pt>
                <c:pt idx="26">
                  <c:v>0.32300000000000001</c:v>
                </c:pt>
                <c:pt idx="27">
                  <c:v>0.25700000000000001</c:v>
                </c:pt>
                <c:pt idx="28">
                  <c:v>0.12</c:v>
                </c:pt>
                <c:pt idx="29">
                  <c:v>0.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577307703388237E-2"/>
                  <c:y val="4.666372721928256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747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1688510738611633E-3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66800000000000004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830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12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2752692463681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25700000000000001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654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41782560988816E-2"/>
                  <c:y val="9.332745443856533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60199999999999998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866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381313554199394E-3"/>
                  <c:y val="-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45800000000000002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741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8730793886248232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77100000000000002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923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4535669150020898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40200000000000002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220601601147073E-3"/>
                  <c:y val="-9.3327454438565764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622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7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392743262970387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877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944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779589409237369E-2"/>
                  <c:y val="2.9982363315696433E-3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68700000000000006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904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476672067665034E-2"/>
                  <c:y val="1.39991181657847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59799999999999998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812999999999999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3387377081463958E-2"/>
                  <c:y val="-4.2774589148638603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46400000000000002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708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863250904636667E-3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85899999999999999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23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255382592350299E-2"/>
                  <c:y val="-2.333186360964138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73799999999999999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45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9450428135567552E-3"/>
                  <c:y val="-6.6486625514403292E-4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72299999999999998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63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6253773343027682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32300000000000001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7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388985409937612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55900000000000005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816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431493902467101E-2"/>
                  <c:y val="-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38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89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6428891188672612E-2"/>
                  <c:y val="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66100000000000003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828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039283942591126E-3"/>
                  <c:y val="-6.6486625514403292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78400000000000003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38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056582484847758E-2"/>
                  <c:y val="-2.1387294574319301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64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26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14019885864715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68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917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36299999999999999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61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72299999999999998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41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106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4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36499999999999999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97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245935997577379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36399999999999999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77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3298374399031074E-2"/>
                  <c:y val="4.666372721928256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62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57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1371663714907388E-2"/>
                  <c:y val="-3.966416813639035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61499999999999999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I$2:$I$37</c:f>
              <c:numCache>
                <c:formatCode>General</c:formatCode>
                <c:ptCount val="36"/>
                <c:pt idx="0">
                  <c:v>56.290160764560284</c:v>
                </c:pt>
                <c:pt idx="1">
                  <c:v>100.52558312301909</c:v>
                </c:pt>
                <c:pt idx="2">
                  <c:v>148.00684577224965</c:v>
                </c:pt>
                <c:pt idx="3">
                  <c:v>172.95815816788803</c:v>
                </c:pt>
                <c:pt idx="4">
                  <c:v>188.07648380030619</c:v>
                </c:pt>
                <c:pt idx="5">
                  <c:v>204.16682577648484</c:v>
                </c:pt>
                <c:pt idx="6">
                  <c:v>222.1230919839895</c:v>
                </c:pt>
                <c:pt idx="7">
                  <c:v>235.91357386109189</c:v>
                </c:pt>
                <c:pt idx="8">
                  <c:v>242.54411392031551</c:v>
                </c:pt>
                <c:pt idx="9">
                  <c:v>241.93660370546516</c:v>
                </c:pt>
                <c:pt idx="10">
                  <c:v>238.84698032708351</c:v>
                </c:pt>
                <c:pt idx="11">
                  <c:v>245.04358451855683</c:v>
                </c:pt>
                <c:pt idx="12">
                  <c:v>244.06288945744132</c:v>
                </c:pt>
                <c:pt idx="13">
                  <c:v>234.0042560429909</c:v>
                </c:pt>
                <c:pt idx="14">
                  <c:v>245.06962067062184</c:v>
                </c:pt>
                <c:pt idx="15">
                  <c:v>327.9947649976915</c:v>
                </c:pt>
                <c:pt idx="16">
                  <c:v>545.63963882649853</c:v>
                </c:pt>
                <c:pt idx="17">
                  <c:v>822.94201575360773</c:v>
                </c:pt>
                <c:pt idx="18">
                  <c:v>977.67486747598593</c:v>
                </c:pt>
                <c:pt idx="19">
                  <c:v>1141.4162278128592</c:v>
                </c:pt>
                <c:pt idx="20">
                  <c:v>1620.4814258091169</c:v>
                </c:pt>
                <c:pt idx="21">
                  <c:v>2072.5037405271801</c:v>
                </c:pt>
                <c:pt idx="22">
                  <c:v>2109.709401828085</c:v>
                </c:pt>
                <c:pt idx="23">
                  <c:v>1789.4560527110577</c:v>
                </c:pt>
                <c:pt idx="24">
                  <c:v>1266.9799105050668</c:v>
                </c:pt>
                <c:pt idx="25">
                  <c:v>887.51167287484247</c:v>
                </c:pt>
                <c:pt idx="26">
                  <c:v>1067.5343069697044</c:v>
                </c:pt>
                <c:pt idx="27">
                  <c:v>2027.574020780321</c:v>
                </c:pt>
                <c:pt idx="28">
                  <c:v>3076.5879449144454</c:v>
                </c:pt>
                <c:pt idx="29">
                  <c:v>4775.976268915264</c:v>
                </c:pt>
                <c:pt idx="30">
                  <c:v>5816.1986523687692</c:v>
                </c:pt>
                <c:pt idx="31">
                  <c:v>4375.8700414148398</c:v>
                </c:pt>
                <c:pt idx="32">
                  <c:v>2492.3974435970163</c:v>
                </c:pt>
                <c:pt idx="33">
                  <c:v>1428.6296999593835</c:v>
                </c:pt>
                <c:pt idx="34">
                  <c:v>935.38347780504819</c:v>
                </c:pt>
                <c:pt idx="35">
                  <c:v>761.566126619014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C$2:$C$37</c:f>
              <c:numCache>
                <c:formatCode>General</c:formatCode>
                <c:ptCount val="36"/>
                <c:pt idx="0">
                  <c:v>16.037121588219271</c:v>
                </c:pt>
                <c:pt idx="1">
                  <c:v>22.246246214795129</c:v>
                </c:pt>
                <c:pt idx="2">
                  <c:v>27.800794450015097</c:v>
                </c:pt>
                <c:pt idx="3">
                  <c:v>27.71663462826934</c:v>
                </c:pt>
                <c:pt idx="4">
                  <c:v>23.789176280134008</c:v>
                </c:pt>
                <c:pt idx="5">
                  <c:v>22.386512584371392</c:v>
                </c:pt>
                <c:pt idx="6">
                  <c:v>23.246812984439128</c:v>
                </c:pt>
                <c:pt idx="7">
                  <c:v>24.172571023642458</c:v>
                </c:pt>
                <c:pt idx="8">
                  <c:v>24.518561401930569</c:v>
                </c:pt>
                <c:pt idx="9">
                  <c:v>28.773307945743845</c:v>
                </c:pt>
                <c:pt idx="10">
                  <c:v>40.817513546692197</c:v>
                </c:pt>
                <c:pt idx="11">
                  <c:v>53.095496430267652</c:v>
                </c:pt>
                <c:pt idx="12">
                  <c:v>59.295269965538417</c:v>
                </c:pt>
                <c:pt idx="13">
                  <c:v>72.714085988334148</c:v>
                </c:pt>
                <c:pt idx="14">
                  <c:v>98.158405429468047</c:v>
                </c:pt>
                <c:pt idx="15">
                  <c:v>146.04534400280383</c:v>
                </c:pt>
                <c:pt idx="16">
                  <c:v>291.45481379686197</c:v>
                </c:pt>
                <c:pt idx="17">
                  <c:v>523.21226070206683</c:v>
                </c:pt>
                <c:pt idx="18">
                  <c:v>822.49393792128421</c:v>
                </c:pt>
                <c:pt idx="19">
                  <c:v>1221.102906983105</c:v>
                </c:pt>
                <c:pt idx="20">
                  <c:v>1725.4540165228173</c:v>
                </c:pt>
                <c:pt idx="21">
                  <c:v>2207.9235724086325</c:v>
                </c:pt>
                <c:pt idx="22">
                  <c:v>2272.8481993398318</c:v>
                </c:pt>
                <c:pt idx="23">
                  <c:v>1922.9116605209738</c:v>
                </c:pt>
                <c:pt idx="24">
                  <c:v>1492.7614604871039</c:v>
                </c:pt>
                <c:pt idx="25">
                  <c:v>1020.0076884672711</c:v>
                </c:pt>
                <c:pt idx="26">
                  <c:v>715.67642194330824</c:v>
                </c:pt>
                <c:pt idx="27">
                  <c:v>774.72856353491454</c:v>
                </c:pt>
                <c:pt idx="28">
                  <c:v>1118.7458615576543</c:v>
                </c:pt>
                <c:pt idx="29">
                  <c:v>2172.4922874536687</c:v>
                </c:pt>
                <c:pt idx="30">
                  <c:v>3821.903229483542</c:v>
                </c:pt>
                <c:pt idx="31">
                  <c:v>4476.0868750046175</c:v>
                </c:pt>
                <c:pt idx="32">
                  <c:v>3637.8456993255709</c:v>
                </c:pt>
                <c:pt idx="33">
                  <c:v>2487.0536478653939</c:v>
                </c:pt>
                <c:pt idx="34">
                  <c:v>1622.2647239712139</c:v>
                </c:pt>
                <c:pt idx="35">
                  <c:v>1132.7350941500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D$2:$D$37</c:f>
              <c:numCache>
                <c:formatCode>General</c:formatCode>
                <c:ptCount val="36"/>
                <c:pt idx="0">
                  <c:v>42.040863326998242</c:v>
                </c:pt>
                <c:pt idx="1">
                  <c:v>61.03812857641455</c:v>
                </c:pt>
                <c:pt idx="2">
                  <c:v>113.08638700743325</c:v>
                </c:pt>
                <c:pt idx="3">
                  <c:v>256.63910525777283</c:v>
                </c:pt>
                <c:pt idx="4">
                  <c:v>407.94729476209642</c:v>
                </c:pt>
                <c:pt idx="5">
                  <c:v>461.21509770556889</c:v>
                </c:pt>
                <c:pt idx="6">
                  <c:v>481.07094605875898</c:v>
                </c:pt>
                <c:pt idx="7">
                  <c:v>468.31251997171256</c:v>
                </c:pt>
                <c:pt idx="8">
                  <c:v>407.52988671337596</c:v>
                </c:pt>
                <c:pt idx="9">
                  <c:v>327.14392954413574</c:v>
                </c:pt>
                <c:pt idx="10">
                  <c:v>246.32273907142545</c:v>
                </c:pt>
                <c:pt idx="11">
                  <c:v>180.59656849585866</c:v>
                </c:pt>
                <c:pt idx="12">
                  <c:v>134.72178995979453</c:v>
                </c:pt>
                <c:pt idx="13">
                  <c:v>108.57808299367311</c:v>
                </c:pt>
                <c:pt idx="14">
                  <c:v>93.043373479372079</c:v>
                </c:pt>
                <c:pt idx="15">
                  <c:v>91.963460129123774</c:v>
                </c:pt>
                <c:pt idx="16">
                  <c:v>102.03472906266373</c:v>
                </c:pt>
                <c:pt idx="17">
                  <c:v>112.43873608486344</c:v>
                </c:pt>
                <c:pt idx="18">
                  <c:v>132.230710608534</c:v>
                </c:pt>
                <c:pt idx="19">
                  <c:v>173.88238920683202</c:v>
                </c:pt>
                <c:pt idx="20">
                  <c:v>281.71775325260393</c:v>
                </c:pt>
                <c:pt idx="21">
                  <c:v>474.50531055931253</c:v>
                </c:pt>
                <c:pt idx="22">
                  <c:v>726.20533481354255</c:v>
                </c:pt>
                <c:pt idx="23">
                  <c:v>938.43133242472072</c:v>
                </c:pt>
                <c:pt idx="24">
                  <c:v>1047.1015125679335</c:v>
                </c:pt>
                <c:pt idx="25">
                  <c:v>1316.2985097968194</c:v>
                </c:pt>
                <c:pt idx="26">
                  <c:v>2476.756759069222</c:v>
                </c:pt>
                <c:pt idx="27">
                  <c:v>4294.3846169477529</c:v>
                </c:pt>
                <c:pt idx="28">
                  <c:v>5597.1062243769393</c:v>
                </c:pt>
                <c:pt idx="29">
                  <c:v>6691.7447204863392</c:v>
                </c:pt>
                <c:pt idx="30">
                  <c:v>7254.1983525424221</c:v>
                </c:pt>
                <c:pt idx="31">
                  <c:v>6198.2183776712782</c:v>
                </c:pt>
                <c:pt idx="32">
                  <c:v>4122.4095299991313</c:v>
                </c:pt>
                <c:pt idx="33">
                  <c:v>2378.2647993880473</c:v>
                </c:pt>
                <c:pt idx="34">
                  <c:v>1500.3190126425025</c:v>
                </c:pt>
                <c:pt idx="35">
                  <c:v>1149.55364967931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F$2:$F$37</c:f>
              <c:numCache>
                <c:formatCode>General</c:formatCode>
                <c:ptCount val="36"/>
                <c:pt idx="0">
                  <c:v>18.292635488906647</c:v>
                </c:pt>
                <c:pt idx="1">
                  <c:v>24.238161194100321</c:v>
                </c:pt>
                <c:pt idx="2">
                  <c:v>46.424059708235319</c:v>
                </c:pt>
                <c:pt idx="3">
                  <c:v>84.142769878578477</c:v>
                </c:pt>
                <c:pt idx="4">
                  <c:v>116.9236421465541</c:v>
                </c:pt>
                <c:pt idx="5">
                  <c:v>135.80479413927432</c:v>
                </c:pt>
                <c:pt idx="6">
                  <c:v>143.80258252443332</c:v>
                </c:pt>
                <c:pt idx="7">
                  <c:v>148.49562438817756</c:v>
                </c:pt>
                <c:pt idx="8">
                  <c:v>153.35633477152683</c:v>
                </c:pt>
                <c:pt idx="9">
                  <c:v>144.38439228746273</c:v>
                </c:pt>
                <c:pt idx="10">
                  <c:v>122.52712407175353</c:v>
                </c:pt>
                <c:pt idx="11">
                  <c:v>103.90250491402898</c:v>
                </c:pt>
                <c:pt idx="12">
                  <c:v>88.208731478999994</c:v>
                </c:pt>
                <c:pt idx="13">
                  <c:v>74.805310021775455</c:v>
                </c:pt>
                <c:pt idx="14">
                  <c:v>65.35886562722915</c:v>
                </c:pt>
                <c:pt idx="15">
                  <c:v>60.320426613098583</c:v>
                </c:pt>
                <c:pt idx="16">
                  <c:v>72.748017286221966</c:v>
                </c:pt>
                <c:pt idx="17">
                  <c:v>96.712878793366116</c:v>
                </c:pt>
                <c:pt idx="18">
                  <c:v>119.40513623670826</c:v>
                </c:pt>
                <c:pt idx="19">
                  <c:v>155.8814226767783</c:v>
                </c:pt>
                <c:pt idx="20">
                  <c:v>206.51899228268752</c:v>
                </c:pt>
                <c:pt idx="21">
                  <c:v>260.84359263471094</c:v>
                </c:pt>
                <c:pt idx="22">
                  <c:v>320.42963113193957</c:v>
                </c:pt>
                <c:pt idx="23">
                  <c:v>382.42841962628432</c:v>
                </c:pt>
                <c:pt idx="24">
                  <c:v>497.17404770316932</c:v>
                </c:pt>
                <c:pt idx="25">
                  <c:v>785.78522386966597</c:v>
                </c:pt>
                <c:pt idx="26">
                  <c:v>1863.6322420392999</c:v>
                </c:pt>
                <c:pt idx="27">
                  <c:v>3383.6362365741111</c:v>
                </c:pt>
                <c:pt idx="28">
                  <c:v>4020.4966046454106</c:v>
                </c:pt>
                <c:pt idx="29">
                  <c:v>3921.6425988566889</c:v>
                </c:pt>
                <c:pt idx="30">
                  <c:v>3434.3827907177633</c:v>
                </c:pt>
                <c:pt idx="31">
                  <c:v>2595.1750231315491</c:v>
                </c:pt>
                <c:pt idx="32">
                  <c:v>1824.3273876734931</c:v>
                </c:pt>
                <c:pt idx="33">
                  <c:v>1321.5699782674772</c:v>
                </c:pt>
                <c:pt idx="34">
                  <c:v>1032.5966380986338</c:v>
                </c:pt>
                <c:pt idx="35">
                  <c:v>769.26484463298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K$2:$K$37</c:f>
              <c:numCache>
                <c:formatCode>General</c:formatCode>
                <c:ptCount val="36"/>
                <c:pt idx="0">
                  <c:v>6.4690958394501434</c:v>
                </c:pt>
                <c:pt idx="1">
                  <c:v>5.0872478357701283</c:v>
                </c:pt>
                <c:pt idx="2">
                  <c:v>6.1620185052990291</c:v>
                </c:pt>
                <c:pt idx="3">
                  <c:v>7.4005637530418573</c:v>
                </c:pt>
                <c:pt idx="4">
                  <c:v>8.0044825102057153</c:v>
                </c:pt>
                <c:pt idx="5">
                  <c:v>7.6666974426394896</c:v>
                </c:pt>
                <c:pt idx="6">
                  <c:v>8.7824117567218707</c:v>
                </c:pt>
                <c:pt idx="7">
                  <c:v>11.361861363591233</c:v>
                </c:pt>
                <c:pt idx="8">
                  <c:v>17.636474891412337</c:v>
                </c:pt>
                <c:pt idx="9">
                  <c:v>26.275583892197023</c:v>
                </c:pt>
                <c:pt idx="10">
                  <c:v>34.576907825415482</c:v>
                </c:pt>
                <c:pt idx="11">
                  <c:v>46.501744301617094</c:v>
                </c:pt>
                <c:pt idx="12">
                  <c:v>57.884077487485065</c:v>
                </c:pt>
                <c:pt idx="13">
                  <c:v>68.017629514471835</c:v>
                </c:pt>
                <c:pt idx="14">
                  <c:v>83.903763601222821</c:v>
                </c:pt>
                <c:pt idx="15">
                  <c:v>117.84604493605933</c:v>
                </c:pt>
                <c:pt idx="16">
                  <c:v>215.51710901839047</c:v>
                </c:pt>
                <c:pt idx="17">
                  <c:v>391.42124193128711</c:v>
                </c:pt>
                <c:pt idx="18">
                  <c:v>608.88317406596798</c:v>
                </c:pt>
                <c:pt idx="19">
                  <c:v>882.48907879461092</c:v>
                </c:pt>
                <c:pt idx="20">
                  <c:v>1184.2949187094646</c:v>
                </c:pt>
                <c:pt idx="21">
                  <c:v>1390.7941900149506</c:v>
                </c:pt>
                <c:pt idx="22">
                  <c:v>1349.8096018169151</c:v>
                </c:pt>
                <c:pt idx="23">
                  <c:v>1046.3148365642305</c:v>
                </c:pt>
                <c:pt idx="24">
                  <c:v>725.0300577530578</c:v>
                </c:pt>
                <c:pt idx="25">
                  <c:v>474.74155859762283</c:v>
                </c:pt>
                <c:pt idx="26">
                  <c:v>346.78243345685348</c:v>
                </c:pt>
                <c:pt idx="27">
                  <c:v>535.2460293365308</c:v>
                </c:pt>
                <c:pt idx="28">
                  <c:v>879.76632643180437</c:v>
                </c:pt>
                <c:pt idx="29">
                  <c:v>1471.6374161858007</c:v>
                </c:pt>
                <c:pt idx="30">
                  <c:v>2100.1325959928863</c:v>
                </c:pt>
                <c:pt idx="31">
                  <c:v>2141.1376560131985</c:v>
                </c:pt>
                <c:pt idx="32">
                  <c:v>1675.3320478393732</c:v>
                </c:pt>
                <c:pt idx="33">
                  <c:v>1116.9938029746786</c:v>
                </c:pt>
                <c:pt idx="34">
                  <c:v>721.34512974324446</c:v>
                </c:pt>
                <c:pt idx="35">
                  <c:v>473.03216143751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E$2:$E$37</c:f>
              <c:numCache>
                <c:formatCode>General</c:formatCode>
                <c:ptCount val="36"/>
                <c:pt idx="0">
                  <c:v>11.083761626692198</c:v>
                </c:pt>
                <c:pt idx="1">
                  <c:v>11.969933498993365</c:v>
                </c:pt>
                <c:pt idx="2">
                  <c:v>17.65610281257846</c:v>
                </c:pt>
                <c:pt idx="3">
                  <c:v>26.130647393282153</c:v>
                </c:pt>
                <c:pt idx="4">
                  <c:v>33.832046093538551</c:v>
                </c:pt>
                <c:pt idx="5">
                  <c:v>43.195167354880731</c:v>
                </c:pt>
                <c:pt idx="6">
                  <c:v>63.1057779836935</c:v>
                </c:pt>
                <c:pt idx="7">
                  <c:v>98.242432600226309</c:v>
                </c:pt>
                <c:pt idx="8">
                  <c:v>139.4836931810373</c:v>
                </c:pt>
                <c:pt idx="9">
                  <c:v>169.6267632851322</c:v>
                </c:pt>
                <c:pt idx="10">
                  <c:v>176.00671980403311</c:v>
                </c:pt>
                <c:pt idx="11">
                  <c:v>160.07005495263604</c:v>
                </c:pt>
                <c:pt idx="12">
                  <c:v>138.3414092208119</c:v>
                </c:pt>
                <c:pt idx="13">
                  <c:v>132.36906771508615</c:v>
                </c:pt>
                <c:pt idx="14">
                  <c:v>137.66084846135132</c:v>
                </c:pt>
                <c:pt idx="15">
                  <c:v>148.32016141650715</c:v>
                </c:pt>
                <c:pt idx="16">
                  <c:v>196.08927422896406</c:v>
                </c:pt>
                <c:pt idx="17">
                  <c:v>282.27640263422222</c:v>
                </c:pt>
                <c:pt idx="18">
                  <c:v>378.65150156052221</c:v>
                </c:pt>
                <c:pt idx="19">
                  <c:v>540.07185639456156</c:v>
                </c:pt>
                <c:pt idx="20">
                  <c:v>749.11342832831281</c:v>
                </c:pt>
                <c:pt idx="21">
                  <c:v>907.92456611636362</c:v>
                </c:pt>
                <c:pt idx="22">
                  <c:v>951.85199760995727</c:v>
                </c:pt>
                <c:pt idx="23">
                  <c:v>873.52378285104965</c:v>
                </c:pt>
                <c:pt idx="24">
                  <c:v>735.66213289353232</c:v>
                </c:pt>
                <c:pt idx="25">
                  <c:v>562.16964020616376</c:v>
                </c:pt>
                <c:pt idx="26">
                  <c:v>484.08791830183117</c:v>
                </c:pt>
                <c:pt idx="27">
                  <c:v>657.40125276806964</c:v>
                </c:pt>
                <c:pt idx="28">
                  <c:v>990.88684654128019</c:v>
                </c:pt>
                <c:pt idx="29">
                  <c:v>1541.222424919509</c:v>
                </c:pt>
                <c:pt idx="30">
                  <c:v>2289.7202223134686</c:v>
                </c:pt>
                <c:pt idx="31">
                  <c:v>2881.1239150722213</c:v>
                </c:pt>
                <c:pt idx="32">
                  <c:v>3118.0961334397366</c:v>
                </c:pt>
                <c:pt idx="33">
                  <c:v>2999.8745531730842</c:v>
                </c:pt>
                <c:pt idx="34">
                  <c:v>2738.6402234903821</c:v>
                </c:pt>
                <c:pt idx="35">
                  <c:v>2628.3653323743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G$2:$G$37</c:f>
              <c:numCache>
                <c:formatCode>General</c:formatCode>
                <c:ptCount val="36"/>
                <c:pt idx="0">
                  <c:v>58.267703417791729</c:v>
                </c:pt>
                <c:pt idx="1">
                  <c:v>258.04843118674995</c:v>
                </c:pt>
                <c:pt idx="2">
                  <c:v>627.39317372283404</c:v>
                </c:pt>
                <c:pt idx="3">
                  <c:v>661.10261704883249</c:v>
                </c:pt>
                <c:pt idx="4">
                  <c:v>398.51018966732033</c:v>
                </c:pt>
                <c:pt idx="5">
                  <c:v>243.75006642219469</c:v>
                </c:pt>
                <c:pt idx="6">
                  <c:v>196.16161575543074</c:v>
                </c:pt>
                <c:pt idx="7">
                  <c:v>189.74487270922415</c:v>
                </c:pt>
                <c:pt idx="8">
                  <c:v>199.61413372389103</c:v>
                </c:pt>
                <c:pt idx="9">
                  <c:v>203.86515418422488</c:v>
                </c:pt>
                <c:pt idx="10">
                  <c:v>197.46564500474935</c:v>
                </c:pt>
                <c:pt idx="11">
                  <c:v>176.57245390443305</c:v>
                </c:pt>
                <c:pt idx="12">
                  <c:v>147.25190197261711</c:v>
                </c:pt>
                <c:pt idx="13">
                  <c:v>133.01672805274254</c:v>
                </c:pt>
                <c:pt idx="14">
                  <c:v>158.98816521648465</c:v>
                </c:pt>
                <c:pt idx="15">
                  <c:v>227.84895205164875</c:v>
                </c:pt>
                <c:pt idx="16">
                  <c:v>335.25615414200189</c:v>
                </c:pt>
                <c:pt idx="17">
                  <c:v>484.20846429875252</c:v>
                </c:pt>
                <c:pt idx="18">
                  <c:v>680.01965809731792</c:v>
                </c:pt>
                <c:pt idx="19">
                  <c:v>934.5351466041958</c:v>
                </c:pt>
                <c:pt idx="20">
                  <c:v>1382.8971681022956</c:v>
                </c:pt>
                <c:pt idx="21">
                  <c:v>1746.9051565739878</c:v>
                </c:pt>
                <c:pt idx="22">
                  <c:v>1776.8059153524168</c:v>
                </c:pt>
                <c:pt idx="23">
                  <c:v>1612.3316358932038</c:v>
                </c:pt>
                <c:pt idx="24">
                  <c:v>1310.8136481884189</c:v>
                </c:pt>
                <c:pt idx="25">
                  <c:v>1061.8474647689497</c:v>
                </c:pt>
                <c:pt idx="26">
                  <c:v>1067.7242133242491</c:v>
                </c:pt>
                <c:pt idx="27">
                  <c:v>1594.230331203323</c:v>
                </c:pt>
                <c:pt idx="28">
                  <c:v>2303.9209631893223</c:v>
                </c:pt>
                <c:pt idx="29">
                  <c:v>3117.7501072090126</c:v>
                </c:pt>
                <c:pt idx="30">
                  <c:v>4278.0603972348836</c:v>
                </c:pt>
                <c:pt idx="31">
                  <c:v>5706.9719895091703</c:v>
                </c:pt>
                <c:pt idx="32">
                  <c:v>8178.130395456923</c:v>
                </c:pt>
                <c:pt idx="33">
                  <c:v>6916.3413534961919</c:v>
                </c:pt>
                <c:pt idx="34">
                  <c:v>3438.1679020955521</c:v>
                </c:pt>
                <c:pt idx="35">
                  <c:v>3594.77204908090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J$2:$J$37</c:f>
              <c:numCache>
                <c:formatCode>General</c:formatCode>
                <c:ptCount val="36"/>
                <c:pt idx="0">
                  <c:v>3.859514921411582</c:v>
                </c:pt>
                <c:pt idx="1">
                  <c:v>3.106053305354441</c:v>
                </c:pt>
                <c:pt idx="2">
                  <c:v>3.1323981171046906</c:v>
                </c:pt>
                <c:pt idx="3">
                  <c:v>3.6013357662591354</c:v>
                </c:pt>
                <c:pt idx="4">
                  <c:v>4.3047422399908024</c:v>
                </c:pt>
                <c:pt idx="5">
                  <c:v>5.1056245171983941</c:v>
                </c:pt>
                <c:pt idx="6">
                  <c:v>6.1725893930835074</c:v>
                </c:pt>
                <c:pt idx="7">
                  <c:v>6.984009594991198</c:v>
                </c:pt>
                <c:pt idx="8">
                  <c:v>7.8033332404239637</c:v>
                </c:pt>
                <c:pt idx="9">
                  <c:v>10.261304176722261</c:v>
                </c:pt>
                <c:pt idx="10">
                  <c:v>14.579218822588187</c:v>
                </c:pt>
                <c:pt idx="11">
                  <c:v>20.103725846615554</c:v>
                </c:pt>
                <c:pt idx="12">
                  <c:v>25.654577682393167</c:v>
                </c:pt>
                <c:pt idx="13">
                  <c:v>34.917413493780963</c:v>
                </c:pt>
                <c:pt idx="14">
                  <c:v>51.772824051590725</c:v>
                </c:pt>
                <c:pt idx="15">
                  <c:v>77.917415232538531</c:v>
                </c:pt>
                <c:pt idx="16">
                  <c:v>138.51048225811286</c:v>
                </c:pt>
                <c:pt idx="17">
                  <c:v>234.55049349364819</c:v>
                </c:pt>
                <c:pt idx="18">
                  <c:v>357.38581276036246</c:v>
                </c:pt>
                <c:pt idx="19">
                  <c:v>484.39678468949137</c:v>
                </c:pt>
                <c:pt idx="20">
                  <c:v>648.62507217819791</c:v>
                </c:pt>
                <c:pt idx="21">
                  <c:v>808.64609323038974</c:v>
                </c:pt>
                <c:pt idx="22">
                  <c:v>861.25404781446332</c:v>
                </c:pt>
                <c:pt idx="23">
                  <c:v>839.44054368525667</c:v>
                </c:pt>
                <c:pt idx="24">
                  <c:v>747.58672303683602</c:v>
                </c:pt>
                <c:pt idx="25">
                  <c:v>567.08787981117507</c:v>
                </c:pt>
                <c:pt idx="26">
                  <c:v>435.78270356675557</c:v>
                </c:pt>
                <c:pt idx="27">
                  <c:v>437.6505507198483</c:v>
                </c:pt>
                <c:pt idx="28">
                  <c:v>499.61618243761063</c:v>
                </c:pt>
                <c:pt idx="29">
                  <c:v>859.74975906352415</c:v>
                </c:pt>
                <c:pt idx="30">
                  <c:v>1482.2513159101745</c:v>
                </c:pt>
                <c:pt idx="31">
                  <c:v>1777.1656765671701</c:v>
                </c:pt>
                <c:pt idx="32">
                  <c:v>1483.9163080127903</c:v>
                </c:pt>
                <c:pt idx="33">
                  <c:v>990.44900463768795</c:v>
                </c:pt>
                <c:pt idx="34">
                  <c:v>664.20539384729568</c:v>
                </c:pt>
                <c:pt idx="35">
                  <c:v>484.56012252234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14.739810881036243</c:v>
                </c:pt>
                <c:pt idx="1">
                  <c:v>19.390940229168109</c:v>
                </c:pt>
                <c:pt idx="2">
                  <c:v>36.916934874302669</c:v>
                </c:pt>
                <c:pt idx="3">
                  <c:v>53.094776085196109</c:v>
                </c:pt>
                <c:pt idx="4">
                  <c:v>64.980995530421978</c:v>
                </c:pt>
                <c:pt idx="5">
                  <c:v>77.72104548400057</c:v>
                </c:pt>
                <c:pt idx="6">
                  <c:v>107.49276715682528</c:v>
                </c:pt>
                <c:pt idx="7">
                  <c:v>156.90259052176233</c:v>
                </c:pt>
                <c:pt idx="8">
                  <c:v>196.61694377211535</c:v>
                </c:pt>
                <c:pt idx="9">
                  <c:v>233.02832110857759</c:v>
                </c:pt>
                <c:pt idx="10">
                  <c:v>284.97716677466872</c:v>
                </c:pt>
                <c:pt idx="11">
                  <c:v>312.41208916147554</c:v>
                </c:pt>
                <c:pt idx="12">
                  <c:v>286.60618550771005</c:v>
                </c:pt>
                <c:pt idx="13">
                  <c:v>273.64144331509129</c:v>
                </c:pt>
                <c:pt idx="14">
                  <c:v>285.11198211809284</c:v>
                </c:pt>
                <c:pt idx="15">
                  <c:v>316.18691877735068</c:v>
                </c:pt>
                <c:pt idx="16">
                  <c:v>440.56530769804601</c:v>
                </c:pt>
                <c:pt idx="17">
                  <c:v>656.42714174395337</c:v>
                </c:pt>
                <c:pt idx="18">
                  <c:v>1023.2035181412019</c:v>
                </c:pt>
                <c:pt idx="19">
                  <c:v>1520.335097017615</c:v>
                </c:pt>
                <c:pt idx="20">
                  <c:v>1978.4938070325074</c:v>
                </c:pt>
                <c:pt idx="21">
                  <c:v>2021.7920014955516</c:v>
                </c:pt>
                <c:pt idx="22">
                  <c:v>1500.5397107581746</c:v>
                </c:pt>
                <c:pt idx="23">
                  <c:v>901.0046439391964</c:v>
                </c:pt>
                <c:pt idx="24">
                  <c:v>541.21619617609758</c:v>
                </c:pt>
                <c:pt idx="25">
                  <c:v>376.35950039231261</c:v>
                </c:pt>
                <c:pt idx="26">
                  <c:v>424.32005881544052</c:v>
                </c:pt>
                <c:pt idx="27">
                  <c:v>961.79512921151888</c:v>
                </c:pt>
                <c:pt idx="28">
                  <c:v>1951.8677767062454</c:v>
                </c:pt>
                <c:pt idx="29">
                  <c:v>3232.8494660863016</c:v>
                </c:pt>
                <c:pt idx="30">
                  <c:v>4537.4013713416734</c:v>
                </c:pt>
                <c:pt idx="31">
                  <c:v>5156.9228128232762</c:v>
                </c:pt>
                <c:pt idx="32">
                  <c:v>5033.4881313065498</c:v>
                </c:pt>
                <c:pt idx="33">
                  <c:v>4634.4122455472734</c:v>
                </c:pt>
                <c:pt idx="34">
                  <c:v>4290.9701581743484</c:v>
                </c:pt>
                <c:pt idx="35">
                  <c:v>4531.62678079834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L$2:$L$37</c:f>
              <c:numCache>
                <c:formatCode>General</c:formatCode>
                <c:ptCount val="36"/>
                <c:pt idx="0">
                  <c:v>11.359736659317649</c:v>
                </c:pt>
                <c:pt idx="1">
                  <c:v>8.4831581826839866</c:v>
                </c:pt>
                <c:pt idx="2">
                  <c:v>8.2266480000542348</c:v>
                </c:pt>
                <c:pt idx="3">
                  <c:v>9.7657090958327544</c:v>
                </c:pt>
                <c:pt idx="4">
                  <c:v>13.485106743964177</c:v>
                </c:pt>
                <c:pt idx="5">
                  <c:v>15.390610957785205</c:v>
                </c:pt>
                <c:pt idx="6">
                  <c:v>18.13893434310399</c:v>
                </c:pt>
                <c:pt idx="7">
                  <c:v>22.811084098145926</c:v>
                </c:pt>
                <c:pt idx="8">
                  <c:v>27.446589541383613</c:v>
                </c:pt>
                <c:pt idx="9">
                  <c:v>46.373376588278987</c:v>
                </c:pt>
                <c:pt idx="10">
                  <c:v>87.579905212158664</c:v>
                </c:pt>
                <c:pt idx="11">
                  <c:v>146.48563643749131</c:v>
                </c:pt>
                <c:pt idx="12">
                  <c:v>210.4482826918105</c:v>
                </c:pt>
                <c:pt idx="13">
                  <c:v>280.75039488826508</c:v>
                </c:pt>
                <c:pt idx="14">
                  <c:v>361.09304851908428</c:v>
                </c:pt>
                <c:pt idx="15">
                  <c:v>446.89570460873676</c:v>
                </c:pt>
                <c:pt idx="16">
                  <c:v>657.98526275712175</c:v>
                </c:pt>
                <c:pt idx="17">
                  <c:v>1013.3984429465471</c:v>
                </c:pt>
                <c:pt idx="18">
                  <c:v>1392.5204928733226</c:v>
                </c:pt>
                <c:pt idx="19">
                  <c:v>1732.6713171962779</c:v>
                </c:pt>
                <c:pt idx="20">
                  <c:v>2083.7604685928013</c:v>
                </c:pt>
                <c:pt idx="21">
                  <c:v>2318.320708451809</c:v>
                </c:pt>
                <c:pt idx="22">
                  <c:v>2299.7420423670542</c:v>
                </c:pt>
                <c:pt idx="23">
                  <c:v>1948.1398706052707</c:v>
                </c:pt>
                <c:pt idx="24">
                  <c:v>1394.1878090604162</c:v>
                </c:pt>
                <c:pt idx="25">
                  <c:v>936.59196540483822</c:v>
                </c:pt>
                <c:pt idx="26">
                  <c:v>731.32885283332905</c:v>
                </c:pt>
                <c:pt idx="27">
                  <c:v>704.90830402246445</c:v>
                </c:pt>
                <c:pt idx="28">
                  <c:v>668.04412634738844</c:v>
                </c:pt>
                <c:pt idx="29">
                  <c:v>1136.6332635442416</c:v>
                </c:pt>
                <c:pt idx="30">
                  <c:v>2598.4481500394018</c:v>
                </c:pt>
                <c:pt idx="31">
                  <c:v>4230.2926433062839</c:v>
                </c:pt>
                <c:pt idx="32">
                  <c:v>4956.6561918901371</c:v>
                </c:pt>
                <c:pt idx="33">
                  <c:v>4777.795305973591</c:v>
                </c:pt>
                <c:pt idx="34">
                  <c:v>4014.7874455854876</c:v>
                </c:pt>
                <c:pt idx="35">
                  <c:v>3113.6305296953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7</c:f>
              <c:numCache>
                <c:formatCode>General</c:formatCode>
                <c:ptCount val="36"/>
                <c:pt idx="0">
                  <c:v>229.18658158199335</c:v>
                </c:pt>
                <c:pt idx="1">
                  <c:v>451.46883288550259</c:v>
                </c:pt>
                <c:pt idx="2">
                  <c:v>657.45576612354432</c:v>
                </c:pt>
                <c:pt idx="3">
                  <c:v>764.18555712980481</c:v>
                </c:pt>
                <c:pt idx="4">
                  <c:v>724.2764999203298</c:v>
                </c:pt>
                <c:pt idx="5">
                  <c:v>583.98000161157381</c:v>
                </c:pt>
                <c:pt idx="6">
                  <c:v>442.70109400676665</c:v>
                </c:pt>
                <c:pt idx="7">
                  <c:v>335.61848073719318</c:v>
                </c:pt>
                <c:pt idx="8">
                  <c:v>253.81442064450528</c:v>
                </c:pt>
                <c:pt idx="9">
                  <c:v>181.52177270412321</c:v>
                </c:pt>
                <c:pt idx="10">
                  <c:v>121.0581777714622</c:v>
                </c:pt>
                <c:pt idx="11">
                  <c:v>86.498497632097809</c:v>
                </c:pt>
                <c:pt idx="12">
                  <c:v>68.003850368373904</c:v>
                </c:pt>
                <c:pt idx="13">
                  <c:v>55.978315501442623</c:v>
                </c:pt>
                <c:pt idx="14">
                  <c:v>47.36691702680946</c:v>
                </c:pt>
                <c:pt idx="15">
                  <c:v>44.12390999575895</c:v>
                </c:pt>
                <c:pt idx="16">
                  <c:v>48.336650073879291</c:v>
                </c:pt>
                <c:pt idx="17">
                  <c:v>54.140259399153408</c:v>
                </c:pt>
                <c:pt idx="18">
                  <c:v>61.868545861422319</c:v>
                </c:pt>
                <c:pt idx="19">
                  <c:v>87.297101317920024</c:v>
                </c:pt>
                <c:pt idx="20">
                  <c:v>139.18943923105536</c:v>
                </c:pt>
                <c:pt idx="21">
                  <c:v>210.28840705903124</c:v>
                </c:pt>
                <c:pt idx="22">
                  <c:v>313.25757753417128</c:v>
                </c:pt>
                <c:pt idx="23">
                  <c:v>430.22343959283546</c:v>
                </c:pt>
                <c:pt idx="24">
                  <c:v>722.5799952649985</c:v>
                </c:pt>
                <c:pt idx="25">
                  <c:v>1508.2433435854609</c:v>
                </c:pt>
                <c:pt idx="26">
                  <c:v>2677.51322587001</c:v>
                </c:pt>
                <c:pt idx="27">
                  <c:v>3510.0174268845576</c:v>
                </c:pt>
                <c:pt idx="28">
                  <c:v>3851.766986712375</c:v>
                </c:pt>
                <c:pt idx="29">
                  <c:v>3758.9028993834991</c:v>
                </c:pt>
                <c:pt idx="30">
                  <c:v>3074.8903916441209</c:v>
                </c:pt>
                <c:pt idx="31">
                  <c:v>2107.7158341603531</c:v>
                </c:pt>
                <c:pt idx="32">
                  <c:v>1308.8142564870811</c:v>
                </c:pt>
                <c:pt idx="33">
                  <c:v>837.43737457643908</c:v>
                </c:pt>
                <c:pt idx="34">
                  <c:v>571.59741906500244</c:v>
                </c:pt>
                <c:pt idx="35">
                  <c:v>440.624301881996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7C73-43E6-B540-622F64279A4E}"/>
              </c:ext>
            </c:extLst>
          </c:dPt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H$2:$H$37</c:f>
              <c:numCache>
                <c:formatCode>General</c:formatCode>
                <c:ptCount val="36"/>
                <c:pt idx="0">
                  <c:v>460.01708819190543</c:v>
                </c:pt>
                <c:pt idx="1">
                  <c:v>623.85226958214719</c:v>
                </c:pt>
                <c:pt idx="2">
                  <c:v>843.11806504811796</c:v>
                </c:pt>
                <c:pt idx="3">
                  <c:v>831.69135970785021</c:v>
                </c:pt>
                <c:pt idx="4">
                  <c:v>604.66768791468178</c:v>
                </c:pt>
                <c:pt idx="5">
                  <c:v>561.1750937553312</c:v>
                </c:pt>
                <c:pt idx="6">
                  <c:v>595.86808160339672</c:v>
                </c:pt>
                <c:pt idx="7">
                  <c:v>656.86585352074542</c:v>
                </c:pt>
                <c:pt idx="8">
                  <c:v>705.04402866635212</c:v>
                </c:pt>
                <c:pt idx="9">
                  <c:v>746.70000437702913</c:v>
                </c:pt>
                <c:pt idx="10">
                  <c:v>730.59653381905866</c:v>
                </c:pt>
                <c:pt idx="11">
                  <c:v>650.4597283717718</c:v>
                </c:pt>
                <c:pt idx="12">
                  <c:v>672.42274642839061</c:v>
                </c:pt>
                <c:pt idx="13">
                  <c:v>701.53094489772923</c:v>
                </c:pt>
                <c:pt idx="14">
                  <c:v>731.09315544757999</c:v>
                </c:pt>
                <c:pt idx="15">
                  <c:v>855.8671356714309</c:v>
                </c:pt>
                <c:pt idx="16">
                  <c:v>934.44648867424257</c:v>
                </c:pt>
                <c:pt idx="17">
                  <c:v>882.43786209208213</c:v>
                </c:pt>
                <c:pt idx="18">
                  <c:v>768.57192615859367</c:v>
                </c:pt>
                <c:pt idx="19">
                  <c:v>759.59747377099484</c:v>
                </c:pt>
                <c:pt idx="20">
                  <c:v>845.40281839826798</c:v>
                </c:pt>
                <c:pt idx="21">
                  <c:v>882.04556039144541</c:v>
                </c:pt>
                <c:pt idx="22">
                  <c:v>944.94019184258423</c:v>
                </c:pt>
                <c:pt idx="23">
                  <c:v>1067.9480797661904</c:v>
                </c:pt>
                <c:pt idx="24">
                  <c:v>1563.7469032225351</c:v>
                </c:pt>
                <c:pt idx="25">
                  <c:v>2355.1325691031734</c:v>
                </c:pt>
                <c:pt idx="28">
                  <c:v>2756.9832163782053</c:v>
                </c:pt>
                <c:pt idx="29">
                  <c:v>2055.0849477907409</c:v>
                </c:pt>
                <c:pt idx="30">
                  <c:v>2008.6390711659235</c:v>
                </c:pt>
                <c:pt idx="31">
                  <c:v>1594.0452304466144</c:v>
                </c:pt>
                <c:pt idx="32">
                  <c:v>1429.553274299127</c:v>
                </c:pt>
                <c:pt idx="33">
                  <c:v>1179.0017855310698</c:v>
                </c:pt>
                <c:pt idx="34">
                  <c:v>791.46794638713868</c:v>
                </c:pt>
                <c:pt idx="35">
                  <c:v>939.685993784618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I$2:$I$37</c:f>
              <c:numCache>
                <c:formatCode>General</c:formatCode>
                <c:ptCount val="36"/>
                <c:pt idx="0">
                  <c:v>35.322379634869002</c:v>
                </c:pt>
                <c:pt idx="1">
                  <c:v>65.203203488150081</c:v>
                </c:pt>
                <c:pt idx="2">
                  <c:v>82.803642284099553</c:v>
                </c:pt>
                <c:pt idx="3">
                  <c:v>90.154515883788505</c:v>
                </c:pt>
                <c:pt idx="4">
                  <c:v>97.921967916517687</c:v>
                </c:pt>
                <c:pt idx="5">
                  <c:v>106.24485785996715</c:v>
                </c:pt>
                <c:pt idx="6">
                  <c:v>115.87823412402236</c:v>
                </c:pt>
                <c:pt idx="7">
                  <c:v>120.03533973706958</c:v>
                </c:pt>
                <c:pt idx="8">
                  <c:v>122.5087741832459</c:v>
                </c:pt>
                <c:pt idx="9">
                  <c:v>119.42782952221926</c:v>
                </c:pt>
                <c:pt idx="10">
                  <c:v>119.41915080486424</c:v>
                </c:pt>
                <c:pt idx="11">
                  <c:v>125.6244337136926</c:v>
                </c:pt>
                <c:pt idx="12">
                  <c:v>118.43845574374872</c:v>
                </c:pt>
                <c:pt idx="13">
                  <c:v>115.56580029924218</c:v>
                </c:pt>
                <c:pt idx="14">
                  <c:v>129.50382037137967</c:v>
                </c:pt>
                <c:pt idx="15">
                  <c:v>198.4909446263118</c:v>
                </c:pt>
                <c:pt idx="16">
                  <c:v>347.14869420018675</c:v>
                </c:pt>
                <c:pt idx="17">
                  <c:v>475.79332155342098</c:v>
                </c:pt>
                <c:pt idx="18">
                  <c:v>501.88154592256501</c:v>
                </c:pt>
                <c:pt idx="19">
                  <c:v>639.53468189029411</c:v>
                </c:pt>
                <c:pt idx="20">
                  <c:v>980.94674391882279</c:v>
                </c:pt>
                <c:pt idx="21">
                  <c:v>1091.5569966083572</c:v>
                </c:pt>
                <c:pt idx="22">
                  <c:v>1018.1524052197277</c:v>
                </c:pt>
                <c:pt idx="23">
                  <c:v>771.30364749133003</c:v>
                </c:pt>
                <c:pt idx="24">
                  <c:v>495.67626301373667</c:v>
                </c:pt>
                <c:pt idx="25">
                  <c:v>391.83540986110586</c:v>
                </c:pt>
                <c:pt idx="26">
                  <c:v>675.69889710859854</c:v>
                </c:pt>
                <c:pt idx="27">
                  <c:v>1351.8751236717223</c:v>
                </c:pt>
                <c:pt idx="28">
                  <c:v>1724.7128212427228</c:v>
                </c:pt>
                <c:pt idx="29">
                  <c:v>3051.2634476725416</c:v>
                </c:pt>
                <c:pt idx="30">
                  <c:v>2764.9352046962276</c:v>
                </c:pt>
                <c:pt idx="31">
                  <c:v>1610.9348367186117</c:v>
                </c:pt>
                <c:pt idx="32">
                  <c:v>881.46260687840413</c:v>
                </c:pt>
                <c:pt idx="33">
                  <c:v>547.16709308097938</c:v>
                </c:pt>
                <c:pt idx="34">
                  <c:v>388.21638472406886</c:v>
                </c:pt>
                <c:pt idx="35">
                  <c:v>373.349741894945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C$2:$C$37</c:f>
              <c:numCache>
                <c:formatCode>General</c:formatCode>
                <c:ptCount val="36"/>
                <c:pt idx="0">
                  <c:v>9.5100598572705533</c:v>
                </c:pt>
                <c:pt idx="1">
                  <c:v>12.736186357524575</c:v>
                </c:pt>
                <c:pt idx="2">
                  <c:v>15.064608092490522</c:v>
                </c:pt>
                <c:pt idx="3">
                  <c:v>12.652026535778818</c:v>
                </c:pt>
                <c:pt idx="4">
                  <c:v>11.13714974435519</c:v>
                </c:pt>
                <c:pt idx="5">
                  <c:v>11.249362840016198</c:v>
                </c:pt>
                <c:pt idx="6">
                  <c:v>11.997450144422929</c:v>
                </c:pt>
                <c:pt idx="7">
                  <c:v>12.175120879219527</c:v>
                </c:pt>
                <c:pt idx="8">
                  <c:v>12.343440522711042</c:v>
                </c:pt>
                <c:pt idx="9">
                  <c:v>16.429867423032803</c:v>
                </c:pt>
                <c:pt idx="10">
                  <c:v>24.38764612365939</c:v>
                </c:pt>
                <c:pt idx="11">
                  <c:v>28.707850306608258</c:v>
                </c:pt>
                <c:pt idx="12">
                  <c:v>30.587419658930166</c:v>
                </c:pt>
                <c:pt idx="13">
                  <c:v>42.126666329403974</c:v>
                </c:pt>
                <c:pt idx="14">
                  <c:v>56.031739100064065</c:v>
                </c:pt>
                <c:pt idx="15">
                  <c:v>90.013604902739772</c:v>
                </c:pt>
                <c:pt idx="16">
                  <c:v>201.44120889412218</c:v>
                </c:pt>
                <c:pt idx="17">
                  <c:v>321.77105180794467</c:v>
                </c:pt>
                <c:pt idx="18">
                  <c:v>500.72288611333954</c:v>
                </c:pt>
                <c:pt idx="19">
                  <c:v>720.38002086976564</c:v>
                </c:pt>
                <c:pt idx="20">
                  <c:v>1005.0739956530517</c:v>
                </c:pt>
                <c:pt idx="21">
                  <c:v>1202.849576755581</c:v>
                </c:pt>
                <c:pt idx="22">
                  <c:v>1069.9986225842508</c:v>
                </c:pt>
                <c:pt idx="23">
                  <c:v>852.91303793672284</c:v>
                </c:pt>
                <c:pt idx="24">
                  <c:v>639.84842255038109</c:v>
                </c:pt>
                <c:pt idx="25">
                  <c:v>380.15926591688992</c:v>
                </c:pt>
                <c:pt idx="26">
                  <c:v>335.51715602641832</c:v>
                </c:pt>
                <c:pt idx="27">
                  <c:v>439.21140750849617</c:v>
                </c:pt>
                <c:pt idx="28">
                  <c:v>679.53445404915817</c:v>
                </c:pt>
                <c:pt idx="29">
                  <c:v>1492.9578334045107</c:v>
                </c:pt>
                <c:pt idx="30">
                  <c:v>2328.9453960790315</c:v>
                </c:pt>
                <c:pt idx="31">
                  <c:v>2147.1414789255855</c:v>
                </c:pt>
                <c:pt idx="32">
                  <c:v>1490.7042203999854</c:v>
                </c:pt>
                <c:pt idx="33">
                  <c:v>996.34942746540821</c:v>
                </c:pt>
                <c:pt idx="34">
                  <c:v>625.91529650580571</c:v>
                </c:pt>
                <c:pt idx="35">
                  <c:v>506.819797644254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D$2:$D$37</c:f>
              <c:numCache>
                <c:formatCode>General</c:formatCode>
                <c:ptCount val="36"/>
                <c:pt idx="0">
                  <c:v>23.156491357662905</c:v>
                </c:pt>
                <c:pt idx="1">
                  <c:v>37.881637218751642</c:v>
                </c:pt>
                <c:pt idx="2">
                  <c:v>75.204749788681596</c:v>
                </c:pt>
                <c:pt idx="3">
                  <c:v>181.43435546909117</c:v>
                </c:pt>
                <c:pt idx="4">
                  <c:v>226.51293929300525</c:v>
                </c:pt>
                <c:pt idx="5">
                  <c:v>234.70215841256362</c:v>
                </c:pt>
                <c:pt idx="6">
                  <c:v>246.3687876461953</c:v>
                </c:pt>
                <c:pt idx="7">
                  <c:v>221.9437323255172</c:v>
                </c:pt>
                <c:pt idx="8">
                  <c:v>185.58615438785876</c:v>
                </c:pt>
                <c:pt idx="9">
                  <c:v>141.55777515627699</c:v>
                </c:pt>
                <c:pt idx="10">
                  <c:v>104.76496391514847</c:v>
                </c:pt>
                <c:pt idx="11">
                  <c:v>75.831604580710206</c:v>
                </c:pt>
                <c:pt idx="12">
                  <c:v>58.890185379084343</c:v>
                </c:pt>
                <c:pt idx="13">
                  <c:v>49.687897614588763</c:v>
                </c:pt>
                <c:pt idx="14">
                  <c:v>43.355475864783322</c:v>
                </c:pt>
                <c:pt idx="15">
                  <c:v>48.607984264340445</c:v>
                </c:pt>
                <c:pt idx="16">
                  <c:v>53.426744798323284</c:v>
                </c:pt>
                <c:pt idx="17">
                  <c:v>59.011991286540137</c:v>
                </c:pt>
                <c:pt idx="18">
                  <c:v>73.218719321993859</c:v>
                </c:pt>
                <c:pt idx="19">
                  <c:v>100.66366988483814</c:v>
                </c:pt>
                <c:pt idx="20">
                  <c:v>181.05408336776577</c:v>
                </c:pt>
                <c:pt idx="21">
                  <c:v>293.45122719154676</c:v>
                </c:pt>
                <c:pt idx="22">
                  <c:v>432.75410762199573</c:v>
                </c:pt>
                <c:pt idx="23">
                  <c:v>505.67722480272494</c:v>
                </c:pt>
                <c:pt idx="24">
                  <c:v>541.42428776520865</c:v>
                </c:pt>
                <c:pt idx="25">
                  <c:v>774.87422203161088</c:v>
                </c:pt>
                <c:pt idx="26">
                  <c:v>1701.8825370376112</c:v>
                </c:pt>
                <c:pt idx="27">
                  <c:v>2592.5020799101417</c:v>
                </c:pt>
                <c:pt idx="28">
                  <c:v>3004.6041444667972</c:v>
                </c:pt>
                <c:pt idx="29">
                  <c:v>3687.1405760195426</c:v>
                </c:pt>
                <c:pt idx="30">
                  <c:v>3567.05777652288</c:v>
                </c:pt>
                <c:pt idx="31">
                  <c:v>2631.1606011483977</c:v>
                </c:pt>
                <c:pt idx="32">
                  <c:v>1491.2489288507334</c:v>
                </c:pt>
                <c:pt idx="33">
                  <c:v>887.01587053731384</c:v>
                </c:pt>
                <c:pt idx="34">
                  <c:v>613.30314210518873</c:v>
                </c:pt>
                <c:pt idx="35">
                  <c:v>536.25050757412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F$2:$F$37</c:f>
              <c:numCache>
                <c:formatCode>General</c:formatCode>
                <c:ptCount val="36"/>
                <c:pt idx="0">
                  <c:v>9.4497977649383937</c:v>
                </c:pt>
                <c:pt idx="1">
                  <c:v>14.788363429161928</c:v>
                </c:pt>
                <c:pt idx="2">
                  <c:v>31.635696279073386</c:v>
                </c:pt>
                <c:pt idx="3">
                  <c:v>52.507073599505091</c:v>
                </c:pt>
                <c:pt idx="4">
                  <c:v>64.416568547048996</c:v>
                </c:pt>
                <c:pt idx="5">
                  <c:v>71.388225592225339</c:v>
                </c:pt>
                <c:pt idx="6">
                  <c:v>72.414356932207994</c:v>
                </c:pt>
                <c:pt idx="7">
                  <c:v>76.081267455969581</c:v>
                </c:pt>
                <c:pt idx="8">
                  <c:v>77.275067315557251</c:v>
                </c:pt>
                <c:pt idx="9">
                  <c:v>67.109324971905465</c:v>
                </c:pt>
                <c:pt idx="10">
                  <c:v>55.417799099848075</c:v>
                </c:pt>
                <c:pt idx="11">
                  <c:v>48.484705814180892</c:v>
                </c:pt>
                <c:pt idx="12">
                  <c:v>39.724025664819088</c:v>
                </c:pt>
                <c:pt idx="13">
                  <c:v>35.081284356956353</c:v>
                </c:pt>
                <c:pt idx="14">
                  <c:v>30.277581270272801</c:v>
                </c:pt>
                <c:pt idx="15">
                  <c:v>30.042845342825789</c:v>
                </c:pt>
                <c:pt idx="16">
                  <c:v>42.705171943396181</c:v>
                </c:pt>
                <c:pt idx="17">
                  <c:v>54.007706849969942</c:v>
                </c:pt>
                <c:pt idx="18">
                  <c:v>65.39742938673831</c:v>
                </c:pt>
                <c:pt idx="19">
                  <c:v>90.483993290039976</c:v>
                </c:pt>
                <c:pt idx="20">
                  <c:v>116.03499899264754</c:v>
                </c:pt>
                <c:pt idx="21">
                  <c:v>144.80859364206339</c:v>
                </c:pt>
                <c:pt idx="22">
                  <c:v>175.62103748987619</c:v>
                </c:pt>
                <c:pt idx="23">
                  <c:v>206.80738213640814</c:v>
                </c:pt>
                <c:pt idx="24">
                  <c:v>290.36666556676118</c:v>
                </c:pt>
                <c:pt idx="25">
                  <c:v>495.41855830290484</c:v>
                </c:pt>
                <c:pt idx="26">
                  <c:v>1368.2136837363951</c:v>
                </c:pt>
                <c:pt idx="27">
                  <c:v>2015.422552837716</c:v>
                </c:pt>
                <c:pt idx="28">
                  <c:v>2005.0740518076948</c:v>
                </c:pt>
                <c:pt idx="29">
                  <c:v>1916.5685470489937</c:v>
                </c:pt>
                <c:pt idx="30">
                  <c:v>1517.8142436687697</c:v>
                </c:pt>
                <c:pt idx="31">
                  <c:v>1077.3607794627794</c:v>
                </c:pt>
                <c:pt idx="32">
                  <c:v>746.96660821071407</c:v>
                </c:pt>
                <c:pt idx="33">
                  <c:v>574.6033700567632</c:v>
                </c:pt>
                <c:pt idx="34">
                  <c:v>457.99326804187041</c:v>
                </c:pt>
                <c:pt idx="35">
                  <c:v>311.2715765911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K$2:$K$37</c:f>
              <c:numCache>
                <c:formatCode>General</c:formatCode>
                <c:ptCount val="36"/>
                <c:pt idx="0">
                  <c:v>2.2519004504415054</c:v>
                </c:pt>
                <c:pt idx="1">
                  <c:v>2.8353473853286228</c:v>
                </c:pt>
                <c:pt idx="2">
                  <c:v>3.3266711199704058</c:v>
                </c:pt>
                <c:pt idx="3">
                  <c:v>4.0738926330714511</c:v>
                </c:pt>
                <c:pt idx="4">
                  <c:v>3.9305898771342638</c:v>
                </c:pt>
                <c:pt idx="5">
                  <c:v>3.7361075655052254</c:v>
                </c:pt>
                <c:pt idx="6">
                  <c:v>5.0463041912166471</c:v>
                </c:pt>
                <c:pt idx="7">
                  <c:v>6.3155571723745858</c:v>
                </c:pt>
                <c:pt idx="8">
                  <c:v>11.32091771903775</c:v>
                </c:pt>
                <c:pt idx="9">
                  <c:v>14.954666173159271</c:v>
                </c:pt>
                <c:pt idx="10">
                  <c:v>19.622241652256211</c:v>
                </c:pt>
                <c:pt idx="11">
                  <c:v>26.87950264936088</c:v>
                </c:pt>
                <c:pt idx="12">
                  <c:v>31.004574838124185</c:v>
                </c:pt>
                <c:pt idx="13">
                  <c:v>37.013054676347657</c:v>
                </c:pt>
                <c:pt idx="14">
                  <c:v>46.89070892487517</c:v>
                </c:pt>
                <c:pt idx="15">
                  <c:v>70.955336011184158</c:v>
                </c:pt>
                <c:pt idx="16">
                  <c:v>144.56177300720628</c:v>
                </c:pt>
                <c:pt idx="17">
                  <c:v>246.85946892408086</c:v>
                </c:pt>
                <c:pt idx="18">
                  <c:v>362.02370514188715</c:v>
                </c:pt>
                <c:pt idx="19">
                  <c:v>520.46537365272377</c:v>
                </c:pt>
                <c:pt idx="20">
                  <c:v>663.8295450567407</c:v>
                </c:pt>
                <c:pt idx="21">
                  <c:v>726.96464495820987</c:v>
                </c:pt>
                <c:pt idx="22">
                  <c:v>622.84495685870525</c:v>
                </c:pt>
                <c:pt idx="23">
                  <c:v>423.4698797055251</c:v>
                </c:pt>
                <c:pt idx="24">
                  <c:v>301.5601780475327</c:v>
                </c:pt>
                <c:pt idx="25">
                  <c:v>173.18138055009015</c:v>
                </c:pt>
                <c:pt idx="26">
                  <c:v>173.60105290676333</c:v>
                </c:pt>
                <c:pt idx="27">
                  <c:v>361.64497642976738</c:v>
                </c:pt>
                <c:pt idx="28">
                  <c:v>518.12135000203693</c:v>
                </c:pt>
                <c:pt idx="29">
                  <c:v>953.51606618376354</c:v>
                </c:pt>
                <c:pt idx="30">
                  <c:v>1146.6165298091228</c:v>
                </c:pt>
                <c:pt idx="31">
                  <c:v>994.52112620407581</c:v>
                </c:pt>
                <c:pt idx="32">
                  <c:v>680.81092163529729</c:v>
                </c:pt>
                <c:pt idx="33">
                  <c:v>436.18288133938125</c:v>
                </c:pt>
                <c:pt idx="34">
                  <c:v>285.1622484038632</c:v>
                </c:pt>
                <c:pt idx="35">
                  <c:v>187.869913033651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E$2:$E$37</c:f>
              <c:numCache>
                <c:formatCode>General</c:formatCode>
                <c:ptCount val="36"/>
                <c:pt idx="0">
                  <c:v>5.2593158337113994</c:v>
                </c:pt>
                <c:pt idx="1">
                  <c:v>6.7106176652819656</c:v>
                </c:pt>
                <c:pt idx="2">
                  <c:v>10.945485147296495</c:v>
                </c:pt>
                <c:pt idx="3">
                  <c:v>15.185162245985657</c:v>
                </c:pt>
                <c:pt idx="4">
                  <c:v>18.6468838475529</c:v>
                </c:pt>
                <c:pt idx="5">
                  <c:v>24.548283507327831</c:v>
                </c:pt>
                <c:pt idx="6">
                  <c:v>38.557494476365669</c:v>
                </c:pt>
                <c:pt idx="7">
                  <c:v>59.68493812386064</c:v>
                </c:pt>
                <c:pt idx="8">
                  <c:v>79.798755057176663</c:v>
                </c:pt>
                <c:pt idx="9">
                  <c:v>89.828008227955536</c:v>
                </c:pt>
                <c:pt idx="10">
                  <c:v>86.178711576077603</c:v>
                </c:pt>
                <c:pt idx="11">
                  <c:v>73.891343376558439</c:v>
                </c:pt>
                <c:pt idx="12">
                  <c:v>64.450065844253473</c:v>
                </c:pt>
                <c:pt idx="13">
                  <c:v>67.919001870832673</c:v>
                </c:pt>
                <c:pt idx="14">
                  <c:v>69.741846590518648</c:v>
                </c:pt>
                <c:pt idx="15">
                  <c:v>78.578314825988485</c:v>
                </c:pt>
                <c:pt idx="16">
                  <c:v>117.51095940297554</c:v>
                </c:pt>
                <c:pt idx="17">
                  <c:v>164.76544323124671</c:v>
                </c:pt>
                <c:pt idx="18">
                  <c:v>213.8860583292755</c:v>
                </c:pt>
                <c:pt idx="19">
                  <c:v>326.18579806528601</c:v>
                </c:pt>
                <c:pt idx="20">
                  <c:v>422.9276302630268</c:v>
                </c:pt>
                <c:pt idx="21">
                  <c:v>484.99693585333677</c:v>
                </c:pt>
                <c:pt idx="22">
                  <c:v>466.85506175662033</c:v>
                </c:pt>
                <c:pt idx="23">
                  <c:v>406.66872109442926</c:v>
                </c:pt>
                <c:pt idx="24">
                  <c:v>328.99341179910317</c:v>
                </c:pt>
                <c:pt idx="25">
                  <c:v>233.17622840706062</c:v>
                </c:pt>
                <c:pt idx="26">
                  <c:v>250.91168989477055</c:v>
                </c:pt>
                <c:pt idx="27">
                  <c:v>406.48956287329918</c:v>
                </c:pt>
                <c:pt idx="28">
                  <c:v>584.39728366798113</c:v>
                </c:pt>
                <c:pt idx="29">
                  <c:v>956.82514125152784</c:v>
                </c:pt>
                <c:pt idx="30">
                  <c:v>1332.8950810619408</c:v>
                </c:pt>
                <c:pt idx="31">
                  <c:v>1548.2288340102809</c:v>
                </c:pt>
                <c:pt idx="32">
                  <c:v>1569.8672994294557</c:v>
                </c:pt>
                <c:pt idx="33">
                  <c:v>1430.0072537436283</c:v>
                </c:pt>
                <c:pt idx="34">
                  <c:v>1308.6329697467536</c:v>
                </c:pt>
                <c:pt idx="35">
                  <c:v>1319.73236262763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G$2:$G$37</c:f>
              <c:numCache>
                <c:formatCode>General</c:formatCode>
                <c:ptCount val="36"/>
                <c:pt idx="0">
                  <c:v>33.393489102595218</c:v>
                </c:pt>
                <c:pt idx="1">
                  <c:v>224.6549420841547</c:v>
                </c:pt>
                <c:pt idx="2">
                  <c:v>402.73823163867939</c:v>
                </c:pt>
                <c:pt idx="3">
                  <c:v>258.36438541015309</c:v>
                </c:pt>
                <c:pt idx="4">
                  <c:v>140.14580425716721</c:v>
                </c:pt>
                <c:pt idx="5">
                  <c:v>103.60426216502749</c:v>
                </c:pt>
                <c:pt idx="6">
                  <c:v>92.557353590403252</c:v>
                </c:pt>
                <c:pt idx="7">
                  <c:v>97.187519118820902</c:v>
                </c:pt>
                <c:pt idx="8">
                  <c:v>102.42661460507016</c:v>
                </c:pt>
                <c:pt idx="9">
                  <c:v>101.43853957915471</c:v>
                </c:pt>
                <c:pt idx="10">
                  <c:v>96.027105425594641</c:v>
                </c:pt>
                <c:pt idx="11">
                  <c:v>80.545348478838392</c:v>
                </c:pt>
                <c:pt idx="12">
                  <c:v>66.706553493778728</c:v>
                </c:pt>
                <c:pt idx="13">
                  <c:v>66.310174558963809</c:v>
                </c:pt>
                <c:pt idx="14">
                  <c:v>92.677990657520837</c:v>
                </c:pt>
                <c:pt idx="15">
                  <c:v>135.17096139412791</c:v>
                </c:pt>
                <c:pt idx="16">
                  <c:v>200.08519274787398</c:v>
                </c:pt>
                <c:pt idx="17">
                  <c:v>284.12327155087854</c:v>
                </c:pt>
                <c:pt idx="18">
                  <c:v>395.89638654643937</c:v>
                </c:pt>
                <c:pt idx="19">
                  <c:v>538.63876005775649</c:v>
                </c:pt>
                <c:pt idx="20">
                  <c:v>844.25840804453924</c:v>
                </c:pt>
                <c:pt idx="21">
                  <c:v>902.64674852944847</c:v>
                </c:pt>
                <c:pt idx="22">
                  <c:v>874.15916682296836</c:v>
                </c:pt>
                <c:pt idx="23">
                  <c:v>738.17246907023571</c:v>
                </c:pt>
                <c:pt idx="24">
                  <c:v>572.64117911818323</c:v>
                </c:pt>
                <c:pt idx="25">
                  <c:v>489.20628565076657</c:v>
                </c:pt>
                <c:pt idx="26">
                  <c:v>578.51792767348252</c:v>
                </c:pt>
                <c:pt idx="27">
                  <c:v>1015.7124035298407</c:v>
                </c:pt>
                <c:pt idx="28">
                  <c:v>1288.2085596594818</c:v>
                </c:pt>
                <c:pt idx="29">
                  <c:v>1829.5415475495308</c:v>
                </c:pt>
                <c:pt idx="30">
                  <c:v>2448.5188496853525</c:v>
                </c:pt>
                <c:pt idx="31">
                  <c:v>3258.4531398238178</c:v>
                </c:pt>
                <c:pt idx="32">
                  <c:v>4919.6772556331052</c:v>
                </c:pt>
                <c:pt idx="33">
                  <c:v>1996.6640978630869</c:v>
                </c:pt>
                <c:pt idx="34">
                  <c:v>1441.5038042324654</c:v>
                </c:pt>
                <c:pt idx="35">
                  <c:v>2153.26824484843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J$2:$J$37</c:f>
              <c:numCache>
                <c:formatCode>General</c:formatCode>
                <c:ptCount val="36"/>
                <c:pt idx="0">
                  <c:v>1.630743847340457</c:v>
                </c:pt>
                <c:pt idx="1">
                  <c:v>1.4753094580139838</c:v>
                </c:pt>
                <c:pt idx="2">
                  <c:v>1.6570886590907066</c:v>
                </c:pt>
                <c:pt idx="3">
                  <c:v>1.9442471071684286</c:v>
                </c:pt>
                <c:pt idx="4">
                  <c:v>2.3604951328223742</c:v>
                </c:pt>
                <c:pt idx="5">
                  <c:v>2.7451293843760198</c:v>
                </c:pt>
                <c:pt idx="6">
                  <c:v>3.4274600087074871</c:v>
                </c:pt>
                <c:pt idx="7">
                  <c:v>3.5565495862837109</c:v>
                </c:pt>
                <c:pt idx="8">
                  <c:v>4.2467836541402537</c:v>
                </c:pt>
                <c:pt idx="9">
                  <c:v>6.014520522582008</c:v>
                </c:pt>
                <c:pt idx="10">
                  <c:v>8.5646983000061798</c:v>
                </c:pt>
                <c:pt idx="11">
                  <c:v>11.539027546609372</c:v>
                </c:pt>
                <c:pt idx="12">
                  <c:v>14.115550135783794</c:v>
                </c:pt>
                <c:pt idx="13">
                  <c:v>20.801863357997171</c:v>
                </c:pt>
                <c:pt idx="14">
                  <c:v>30.970960693593558</c:v>
                </c:pt>
                <c:pt idx="15">
                  <c:v>46.946454538944984</c:v>
                </c:pt>
                <c:pt idx="16">
                  <c:v>91.564027719167896</c:v>
                </c:pt>
                <c:pt idx="17">
                  <c:v>142.98646577448031</c:v>
                </c:pt>
                <c:pt idx="18">
                  <c:v>214.39934698588218</c:v>
                </c:pt>
                <c:pt idx="19">
                  <c:v>269.99743770360914</c:v>
                </c:pt>
                <c:pt idx="20">
                  <c:v>378.62763447458883</c:v>
                </c:pt>
                <c:pt idx="21">
                  <c:v>430.01845875580096</c:v>
                </c:pt>
                <c:pt idx="22">
                  <c:v>431.23558905866247</c:v>
                </c:pt>
                <c:pt idx="23">
                  <c:v>408.2049546265942</c:v>
                </c:pt>
                <c:pt idx="24">
                  <c:v>339.38176841024182</c:v>
                </c:pt>
                <c:pt idx="25">
                  <c:v>227.70611140093331</c:v>
                </c:pt>
                <c:pt idx="26">
                  <c:v>208.07659216582223</c:v>
                </c:pt>
                <c:pt idx="27">
                  <c:v>229.57395855402601</c:v>
                </c:pt>
                <c:pt idx="28">
                  <c:v>270.0422238835846</c:v>
                </c:pt>
                <c:pt idx="29">
                  <c:v>589.70753517993955</c:v>
                </c:pt>
                <c:pt idx="30">
                  <c:v>892.54378073023497</c:v>
                </c:pt>
                <c:pt idx="31">
                  <c:v>884.62189583693487</c:v>
                </c:pt>
                <c:pt idx="32">
                  <c:v>599.29441217585543</c:v>
                </c:pt>
                <c:pt idx="33">
                  <c:v>391.15459246183252</c:v>
                </c:pt>
                <c:pt idx="34">
                  <c:v>273.0508013854631</c:v>
                </c:pt>
                <c:pt idx="35">
                  <c:v>211.50932113687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7.1115093656219077</c:v>
                </c:pt>
                <c:pt idx="1">
                  <c:v>12.279430863546201</c:v>
                </c:pt>
                <c:pt idx="2">
                  <c:v>24.637504010756469</c:v>
                </c:pt>
                <c:pt idx="3">
                  <c:v>28.457272074439636</c:v>
                </c:pt>
                <c:pt idx="4">
                  <c:v>36.523723455982342</c:v>
                </c:pt>
                <c:pt idx="5">
                  <c:v>41.19732202801822</c:v>
                </c:pt>
                <c:pt idx="6">
                  <c:v>66.295445128807074</c:v>
                </c:pt>
                <c:pt idx="7">
                  <c:v>90.607145392955275</c:v>
                </c:pt>
                <c:pt idx="8">
                  <c:v>106.00979837916006</c:v>
                </c:pt>
                <c:pt idx="9">
                  <c:v>127.01852272941751</c:v>
                </c:pt>
                <c:pt idx="10">
                  <c:v>157.95864404525122</c:v>
                </c:pt>
                <c:pt idx="11">
                  <c:v>154.45344511622432</c:v>
                </c:pt>
                <c:pt idx="12">
                  <c:v>132.15274039148579</c:v>
                </c:pt>
                <c:pt idx="13">
                  <c:v>141.48870292360553</c:v>
                </c:pt>
                <c:pt idx="14">
                  <c:v>143.62327919448731</c:v>
                </c:pt>
                <c:pt idx="15">
                  <c:v>172.56363958286335</c:v>
                </c:pt>
                <c:pt idx="16">
                  <c:v>268.00166811518261</c:v>
                </c:pt>
                <c:pt idx="17">
                  <c:v>388.4254736287707</c:v>
                </c:pt>
                <c:pt idx="18">
                  <c:v>634.77804451243128</c:v>
                </c:pt>
                <c:pt idx="19">
                  <c:v>885.55705250518372</c:v>
                </c:pt>
                <c:pt idx="20">
                  <c:v>1092.936754527324</c:v>
                </c:pt>
                <c:pt idx="21">
                  <c:v>928.85524696822756</c:v>
                </c:pt>
                <c:pt idx="22">
                  <c:v>571.6844637899469</c:v>
                </c:pt>
                <c:pt idx="23">
                  <c:v>329.32018014924955</c:v>
                </c:pt>
                <c:pt idx="24">
                  <c:v>211.89601602684803</c:v>
                </c:pt>
                <c:pt idx="25">
                  <c:v>164.46348436546461</c:v>
                </c:pt>
                <c:pt idx="26">
                  <c:v>259.85657444997588</c:v>
                </c:pt>
                <c:pt idx="27">
                  <c:v>701.93855476154306</c:v>
                </c:pt>
                <c:pt idx="28">
                  <c:v>1249.9292219447022</c:v>
                </c:pt>
                <c:pt idx="29">
                  <c:v>1982.9202441415991</c:v>
                </c:pt>
                <c:pt idx="30">
                  <c:v>2554.4811272000743</c:v>
                </c:pt>
                <c:pt idx="31">
                  <c:v>2602.4416856232019</c:v>
                </c:pt>
                <c:pt idx="32">
                  <c:v>2431.0464456833474</c:v>
                </c:pt>
                <c:pt idx="33">
                  <c:v>2203.3657998639264</c:v>
                </c:pt>
                <c:pt idx="34">
                  <c:v>2087.604358310422</c:v>
                </c:pt>
                <c:pt idx="35">
                  <c:v>2444.02242248791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L$2:$L$37</c:f>
              <c:numCache>
                <c:formatCode>General</c:formatCode>
                <c:ptCount val="36"/>
                <c:pt idx="0">
                  <c:v>4.1957737015866803</c:v>
                </c:pt>
                <c:pt idx="1">
                  <c:v>4.2873844810973063</c:v>
                </c:pt>
                <c:pt idx="2">
                  <c:v>3.9392635189569267</c:v>
                </c:pt>
                <c:pt idx="3">
                  <c:v>5.8264455768758268</c:v>
                </c:pt>
                <c:pt idx="4">
                  <c:v>7.6586611670883515</c:v>
                </c:pt>
                <c:pt idx="5">
                  <c:v>7.7319497906968531</c:v>
                </c:pt>
                <c:pt idx="6">
                  <c:v>10.406984552407136</c:v>
                </c:pt>
                <c:pt idx="7">
                  <c:v>12.40409954573879</c:v>
                </c:pt>
                <c:pt idx="8">
                  <c:v>15.042489995644823</c:v>
                </c:pt>
                <c:pt idx="9">
                  <c:v>31.330886592634162</c:v>
                </c:pt>
                <c:pt idx="10">
                  <c:v>56.249018619524492</c:v>
                </c:pt>
                <c:pt idx="11">
                  <c:v>90.236617817966817</c:v>
                </c:pt>
                <c:pt idx="12">
                  <c:v>120.21166487384372</c:v>
                </c:pt>
                <c:pt idx="13">
                  <c:v>160.53873001442136</c:v>
                </c:pt>
                <c:pt idx="14">
                  <c:v>200.55431850466289</c:v>
                </c:pt>
                <c:pt idx="15">
                  <c:v>246.34138610407391</c:v>
                </c:pt>
                <c:pt idx="16">
                  <c:v>411.64387665304781</c:v>
                </c:pt>
                <c:pt idx="17">
                  <c:v>601.75456629349935</c:v>
                </c:pt>
                <c:pt idx="18">
                  <c:v>790.76592657982337</c:v>
                </c:pt>
                <c:pt idx="19">
                  <c:v>941.9053906164545</c:v>
                </c:pt>
                <c:pt idx="20">
                  <c:v>1141.8550779763473</c:v>
                </c:pt>
                <c:pt idx="21">
                  <c:v>1176.4656304754617</c:v>
                </c:pt>
                <c:pt idx="22">
                  <c:v>1123.2764118915923</c:v>
                </c:pt>
                <c:pt idx="23">
                  <c:v>824.86345871367826</c:v>
                </c:pt>
                <c:pt idx="24">
                  <c:v>569.32435034673756</c:v>
                </c:pt>
                <c:pt idx="25">
                  <c:v>367.26761505810049</c:v>
                </c:pt>
                <c:pt idx="26">
                  <c:v>364.06123777522856</c:v>
                </c:pt>
                <c:pt idx="27">
                  <c:v>340.84706624723589</c:v>
                </c:pt>
                <c:pt idx="28">
                  <c:v>327.19706010015256</c:v>
                </c:pt>
                <c:pt idx="29">
                  <c:v>809.43620344408896</c:v>
                </c:pt>
                <c:pt idx="30">
                  <c:v>1789.011946595313</c:v>
                </c:pt>
                <c:pt idx="31">
                  <c:v>2441.2806967109714</c:v>
                </c:pt>
                <c:pt idx="32">
                  <c:v>2515.3754951791661</c:v>
                </c:pt>
                <c:pt idx="33">
                  <c:v>2262.4198107944248</c:v>
                </c:pt>
                <c:pt idx="34">
                  <c:v>1752.3676347910623</c:v>
                </c:pt>
                <c:pt idx="35">
                  <c:v>1361.26289490429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7</c:f>
              <c:numCache>
                <c:formatCode>General</c:formatCode>
                <c:ptCount val="36"/>
                <c:pt idx="0">
                  <c:v>166.39900766942642</c:v>
                </c:pt>
                <c:pt idx="1">
                  <c:v>285.0698252160762</c:v>
                </c:pt>
                <c:pt idx="2">
                  <c:v>372.38594090746818</c:v>
                </c:pt>
                <c:pt idx="3">
                  <c:v>391.79961622233668</c:v>
                </c:pt>
                <c:pt idx="4">
                  <c:v>332.47688369799312</c:v>
                </c:pt>
                <c:pt idx="5">
                  <c:v>251.5031179135807</c:v>
                </c:pt>
                <c:pt idx="6">
                  <c:v>191.19797609318596</c:v>
                </c:pt>
                <c:pt idx="7">
                  <c:v>144.4205046440072</c:v>
                </c:pt>
                <c:pt idx="8">
                  <c:v>109.39391600049809</c:v>
                </c:pt>
                <c:pt idx="9">
                  <c:v>72.127856703625113</c:v>
                </c:pt>
                <c:pt idx="10">
                  <c:v>48.930321067837077</c:v>
                </c:pt>
                <c:pt idx="11">
                  <c:v>37.568176564260739</c:v>
                </c:pt>
                <c:pt idx="12">
                  <c:v>30.435673804113165</c:v>
                </c:pt>
                <c:pt idx="13">
                  <c:v>25.542641697329454</c:v>
                </c:pt>
                <c:pt idx="14">
                  <c:v>21.824275329480006</c:v>
                </c:pt>
                <c:pt idx="15">
                  <c:v>22.299634666278941</c:v>
                </c:pt>
                <c:pt idx="16">
                  <c:v>26.037015407600347</c:v>
                </c:pt>
                <c:pt idx="17">
                  <c:v>28.103243991553057</c:v>
                </c:pt>
                <c:pt idx="18">
                  <c:v>33.765301869869262</c:v>
                </c:pt>
                <c:pt idx="19">
                  <c:v>53.531799448050769</c:v>
                </c:pt>
                <c:pt idx="20">
                  <c:v>85.657639783004583</c:v>
                </c:pt>
                <c:pt idx="21">
                  <c:v>124.63076727602662</c:v>
                </c:pt>
                <c:pt idx="22">
                  <c:v>188.62681025814464</c:v>
                </c:pt>
                <c:pt idx="23">
                  <c:v>241.59662933469087</c:v>
                </c:pt>
                <c:pt idx="24">
                  <c:v>480.98336593030763</c:v>
                </c:pt>
                <c:pt idx="25">
                  <c:v>1027.2599776551533</c:v>
                </c:pt>
                <c:pt idx="26">
                  <c:v>1650.2532482148567</c:v>
                </c:pt>
                <c:pt idx="27">
                  <c:v>1859.7641786697011</c:v>
                </c:pt>
                <c:pt idx="28">
                  <c:v>1992.0028080426744</c:v>
                </c:pt>
                <c:pt idx="29">
                  <c:v>1766.9000913408249</c:v>
                </c:pt>
                <c:pt idx="30">
                  <c:v>1307.9903003032962</c:v>
                </c:pt>
                <c:pt idx="31">
                  <c:v>799.72553385705669</c:v>
                </c:pt>
                <c:pt idx="32">
                  <c:v>509.08872263002422</c:v>
                </c:pt>
                <c:pt idx="33">
                  <c:v>328.3486519464148</c:v>
                </c:pt>
                <c:pt idx="34">
                  <c:v>243.24876711858761</c:v>
                </c:pt>
                <c:pt idx="35">
                  <c:v>197.375534763408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A50C-414A-BE02-F1C320178424}"/>
              </c:ext>
            </c:extLst>
          </c:dPt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H$2:$H$37</c:f>
              <c:numCache>
                <c:formatCode>General</c:formatCode>
                <c:ptCount val="36"/>
                <c:pt idx="0">
                  <c:v>278.56506264198623</c:v>
                </c:pt>
                <c:pt idx="1">
                  <c:v>345.2872069401609</c:v>
                </c:pt>
                <c:pt idx="2">
                  <c:v>497.83085810795717</c:v>
                </c:pt>
                <c:pt idx="3">
                  <c:v>333.86050159989304</c:v>
                </c:pt>
                <c:pt idx="4">
                  <c:v>270.80718631478879</c:v>
                </c:pt>
                <c:pt idx="5">
                  <c:v>290.36790744054247</c:v>
                </c:pt>
                <c:pt idx="6">
                  <c:v>305.50017416285425</c:v>
                </c:pt>
                <c:pt idx="7">
                  <c:v>351.36567935789117</c:v>
                </c:pt>
                <c:pt idx="8">
                  <c:v>353.67834930846101</c:v>
                </c:pt>
                <c:pt idx="9">
                  <c:v>393.02165506856812</c:v>
                </c:pt>
                <c:pt idx="10">
                  <c:v>337.5748787504906</c:v>
                </c:pt>
                <c:pt idx="11">
                  <c:v>312.88484962128121</c:v>
                </c:pt>
                <c:pt idx="12">
                  <c:v>359.53789680710935</c:v>
                </c:pt>
                <c:pt idx="13">
                  <c:v>341.99304809061988</c:v>
                </c:pt>
                <c:pt idx="14">
                  <c:v>389.10010735696017</c:v>
                </c:pt>
                <c:pt idx="15">
                  <c:v>466.76702831447079</c:v>
                </c:pt>
                <c:pt idx="16">
                  <c:v>467.67946035977184</c:v>
                </c:pt>
                <c:pt idx="17">
                  <c:v>414.75840173231023</c:v>
                </c:pt>
                <c:pt idx="18">
                  <c:v>353.81352442628338</c:v>
                </c:pt>
                <c:pt idx="19">
                  <c:v>405.78394934471146</c:v>
                </c:pt>
                <c:pt idx="20">
                  <c:v>439.61886905355658</c:v>
                </c:pt>
                <c:pt idx="21">
                  <c:v>442.42669133788888</c:v>
                </c:pt>
                <c:pt idx="22">
                  <c:v>502.5135005046954</c:v>
                </c:pt>
                <c:pt idx="23">
                  <c:v>565.43457926149506</c:v>
                </c:pt>
                <c:pt idx="24">
                  <c:v>998.31232396103997</c:v>
                </c:pt>
                <c:pt idx="25">
                  <c:v>1356.8202451421332</c:v>
                </c:pt>
                <c:pt idx="27">
                  <c:v>1745.714651232842</c:v>
                </c:pt>
                <c:pt idx="28">
                  <c:v>1011.2685651453633</c:v>
                </c:pt>
                <c:pt idx="29">
                  <c:v>1043.8163826453779</c:v>
                </c:pt>
                <c:pt idx="30">
                  <c:v>964.82268852054551</c:v>
                </c:pt>
                <c:pt idx="31">
                  <c:v>629.22254192606886</c:v>
                </c:pt>
                <c:pt idx="32">
                  <c:v>800.33073237305814</c:v>
                </c:pt>
                <c:pt idx="33">
                  <c:v>378.67105315801183</c:v>
                </c:pt>
                <c:pt idx="34">
                  <c:v>412.79689322912685</c:v>
                </c:pt>
                <c:pt idx="35">
                  <c:v>526.889100555491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7. vs. 6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2</c:f>
              <c:strCache>
                <c:ptCount val="31"/>
                <c:pt idx="0">
                  <c:v>Lichtenštejnsko</c:v>
                </c:pt>
                <c:pt idx="1">
                  <c:v>Nizozemsko</c:v>
                </c:pt>
                <c:pt idx="2">
                  <c:v>Velká Británie</c:v>
                </c:pt>
                <c:pt idx="3">
                  <c:v>Island</c:v>
                </c:pt>
                <c:pt idx="4">
                  <c:v>Malta</c:v>
                </c:pt>
                <c:pt idx="5">
                  <c:v>Rakousko</c:v>
                </c:pt>
                <c:pt idx="6">
                  <c:v>Portugalsko</c:v>
                </c:pt>
                <c:pt idx="7">
                  <c:v>Německo</c:v>
                </c:pt>
                <c:pt idx="8">
                  <c:v>Lucembursko</c:v>
                </c:pt>
                <c:pt idx="9">
                  <c:v>Řecko</c:v>
                </c:pt>
                <c:pt idx="10">
                  <c:v>Belgie</c:v>
                </c:pt>
                <c:pt idx="11">
                  <c:v>Finsko</c:v>
                </c:pt>
                <c:pt idx="12">
                  <c:v>Slovinsko</c:v>
                </c:pt>
                <c:pt idx="13">
                  <c:v>Kypr</c:v>
                </c:pt>
                <c:pt idx="14">
                  <c:v>Irsko</c:v>
                </c:pt>
                <c:pt idx="15">
                  <c:v>Francie</c:v>
                </c:pt>
                <c:pt idx="16">
                  <c:v>Litva</c:v>
                </c:pt>
                <c:pt idx="17">
                  <c:v>Lotyšsko</c:v>
                </c:pt>
                <c:pt idx="18">
                  <c:v>Španělsko</c:v>
                </c:pt>
                <c:pt idx="19">
                  <c:v>Česká republika</c:v>
                </c:pt>
                <c:pt idx="20">
                  <c:v>Slovensko</c:v>
                </c:pt>
                <c:pt idx="21">
                  <c:v>Polsko</c:v>
                </c:pt>
                <c:pt idx="22">
                  <c:v>Estonsko</c:v>
                </c:pt>
                <c:pt idx="23">
                  <c:v>Švédsko</c:v>
                </c:pt>
                <c:pt idx="24">
                  <c:v>Chorvatsko</c:v>
                </c:pt>
                <c:pt idx="25">
                  <c:v>Norsko</c:v>
                </c:pt>
                <c:pt idx="26">
                  <c:v>Itálie</c:v>
                </c:pt>
                <c:pt idx="27">
                  <c:v>Maďarsko</c:v>
                </c:pt>
                <c:pt idx="28">
                  <c:v>Rumunsko</c:v>
                </c:pt>
                <c:pt idx="29">
                  <c:v>Bulharsko</c:v>
                </c:pt>
                <c:pt idx="30">
                  <c:v>Dán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0.75645756457564572</c:v>
                </c:pt>
                <c:pt idx="1">
                  <c:v>0.40585265945583648</c:v>
                </c:pt>
                <c:pt idx="2">
                  <c:v>0.47314321172600166</c:v>
                </c:pt>
                <c:pt idx="3">
                  <c:v>1.2591357308584687</c:v>
                </c:pt>
                <c:pt idx="4">
                  <c:v>0.77399756986634261</c:v>
                </c:pt>
                <c:pt idx="5">
                  <c:v>0.90634459237761622</c:v>
                </c:pt>
                <c:pt idx="6">
                  <c:v>0.61826255138402597</c:v>
                </c:pt>
                <c:pt idx="7">
                  <c:v>0.91090963819893733</c:v>
                </c:pt>
                <c:pt idx="8">
                  <c:v>0.61289782244556112</c:v>
                </c:pt>
                <c:pt idx="9">
                  <c:v>0.98818611848980142</c:v>
                </c:pt>
                <c:pt idx="10">
                  <c:v>0.62074906957052556</c:v>
                </c:pt>
                <c:pt idx="11">
                  <c:v>0.93745851953453385</c:v>
                </c:pt>
                <c:pt idx="12">
                  <c:v>0.5516618777665605</c:v>
                </c:pt>
                <c:pt idx="13">
                  <c:v>0.87650788307243455</c:v>
                </c:pt>
                <c:pt idx="14">
                  <c:v>0.60703460108664564</c:v>
                </c:pt>
                <c:pt idx="15">
                  <c:v>0.59481408729051943</c:v>
                </c:pt>
                <c:pt idx="16">
                  <c:v>0.35562663954173135</c:v>
                </c:pt>
                <c:pt idx="17">
                  <c:v>0.98255907293080547</c:v>
                </c:pt>
                <c:pt idx="18">
                  <c:v>0.64497333637665222</c:v>
                </c:pt>
                <c:pt idx="19">
                  <c:v>0.66837499607941542</c:v>
                </c:pt>
                <c:pt idx="20">
                  <c:v>0.89943621345220925</c:v>
                </c:pt>
                <c:pt idx="21">
                  <c:v>0.65269187316742938</c:v>
                </c:pt>
                <c:pt idx="22">
                  <c:v>1.0340474872848973</c:v>
                </c:pt>
                <c:pt idx="23">
                  <c:v>0.35525661787105772</c:v>
                </c:pt>
                <c:pt idx="24">
                  <c:v>0.68249597187637323</c:v>
                </c:pt>
                <c:pt idx="25">
                  <c:v>0.76856832007845666</c:v>
                </c:pt>
                <c:pt idx="26">
                  <c:v>0.76924907183357205</c:v>
                </c:pt>
                <c:pt idx="27">
                  <c:v>0.64068138080346404</c:v>
                </c:pt>
                <c:pt idx="28">
                  <c:v>0.63048422445519581</c:v>
                </c:pt>
                <c:pt idx="29">
                  <c:v>0.74061384725196289</c:v>
                </c:pt>
                <c:pt idx="30">
                  <c:v>0.77276581051125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9. vs. 8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Lichtenštejnsko</c:v>
                </c:pt>
                <c:pt idx="1">
                  <c:v>Nizozemsko</c:v>
                </c:pt>
                <c:pt idx="2">
                  <c:v>Velká Británie</c:v>
                </c:pt>
                <c:pt idx="3">
                  <c:v>Island</c:v>
                </c:pt>
                <c:pt idx="4">
                  <c:v>Malta</c:v>
                </c:pt>
                <c:pt idx="5">
                  <c:v>Rakousko</c:v>
                </c:pt>
                <c:pt idx="6">
                  <c:v>Portugalsko</c:v>
                </c:pt>
                <c:pt idx="7">
                  <c:v>Německo</c:v>
                </c:pt>
                <c:pt idx="8">
                  <c:v>Lucembursko</c:v>
                </c:pt>
                <c:pt idx="9">
                  <c:v>Řecko</c:v>
                </c:pt>
                <c:pt idx="10">
                  <c:v>Belgie</c:v>
                </c:pt>
                <c:pt idx="11">
                  <c:v>Finsko</c:v>
                </c:pt>
                <c:pt idx="12">
                  <c:v>Slovinsko</c:v>
                </c:pt>
                <c:pt idx="13">
                  <c:v>Kypr</c:v>
                </c:pt>
                <c:pt idx="14">
                  <c:v>Irsko</c:v>
                </c:pt>
                <c:pt idx="15">
                  <c:v>Francie</c:v>
                </c:pt>
                <c:pt idx="16">
                  <c:v>Litva</c:v>
                </c:pt>
                <c:pt idx="17">
                  <c:v>Lotyšsko</c:v>
                </c:pt>
                <c:pt idx="18">
                  <c:v>Španělsko</c:v>
                </c:pt>
                <c:pt idx="19">
                  <c:v>Česká republika</c:v>
                </c:pt>
                <c:pt idx="20">
                  <c:v>Slovensko</c:v>
                </c:pt>
                <c:pt idx="21">
                  <c:v>Polsko</c:v>
                </c:pt>
                <c:pt idx="22">
                  <c:v>Estonsko</c:v>
                </c:pt>
                <c:pt idx="23">
                  <c:v>Švédsko</c:v>
                </c:pt>
                <c:pt idx="24">
                  <c:v>Chorvatsko</c:v>
                </c:pt>
                <c:pt idx="25">
                  <c:v>Norsko</c:v>
                </c:pt>
                <c:pt idx="26">
                  <c:v>Itálie</c:v>
                </c:pt>
                <c:pt idx="27">
                  <c:v>Maďarsko</c:v>
                </c:pt>
                <c:pt idx="28">
                  <c:v>Rumunsko</c:v>
                </c:pt>
                <c:pt idx="29">
                  <c:v>Bulharsko</c:v>
                </c:pt>
                <c:pt idx="30">
                  <c:v>Dán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.7155172413793103</c:v>
                </c:pt>
                <c:pt idx="1">
                  <c:v>1.4937652183269505</c:v>
                </c:pt>
                <c:pt idx="2">
                  <c:v>1.2763882412822256</c:v>
                </c:pt>
                <c:pt idx="3">
                  <c:v>1.2682029725266477</c:v>
                </c:pt>
                <c:pt idx="4">
                  <c:v>1.2647619047619048</c:v>
                </c:pt>
                <c:pt idx="5">
                  <c:v>1.1707306572524876</c:v>
                </c:pt>
                <c:pt idx="6">
                  <c:v>1.0844660334116494</c:v>
                </c:pt>
                <c:pt idx="7">
                  <c:v>1.0084816699085861</c:v>
                </c:pt>
                <c:pt idx="8">
                  <c:v>0.99183506838130231</c:v>
                </c:pt>
                <c:pt idx="9">
                  <c:v>0.98520930410205487</c:v>
                </c:pt>
                <c:pt idx="10">
                  <c:v>0.96170526692300817</c:v>
                </c:pt>
                <c:pt idx="11">
                  <c:v>0.95105411575130927</c:v>
                </c:pt>
                <c:pt idx="12">
                  <c:v>0.93847020027346573</c:v>
                </c:pt>
                <c:pt idx="13">
                  <c:v>0.90359182446648634</c:v>
                </c:pt>
                <c:pt idx="14">
                  <c:v>0.88820450885668278</c:v>
                </c:pt>
                <c:pt idx="15">
                  <c:v>0.87436452018397726</c:v>
                </c:pt>
                <c:pt idx="16">
                  <c:v>0.86101137390256899</c:v>
                </c:pt>
                <c:pt idx="17">
                  <c:v>0.81869100062932665</c:v>
                </c:pt>
                <c:pt idx="18">
                  <c:v>0.81141432740411334</c:v>
                </c:pt>
                <c:pt idx="19">
                  <c:v>0.80972585343990433</c:v>
                </c:pt>
                <c:pt idx="20">
                  <c:v>0.77681353380314089</c:v>
                </c:pt>
                <c:pt idx="21">
                  <c:v>0.77461527328862945</c:v>
                </c:pt>
                <c:pt idx="22">
                  <c:v>0.71490287588294654</c:v>
                </c:pt>
                <c:pt idx="23">
                  <c:v>0.70955320233308794</c:v>
                </c:pt>
                <c:pt idx="24">
                  <c:v>0.68977884040645543</c:v>
                </c:pt>
                <c:pt idx="25">
                  <c:v>0.68158613049486627</c:v>
                </c:pt>
                <c:pt idx="26">
                  <c:v>0.67964225308800164</c:v>
                </c:pt>
                <c:pt idx="27">
                  <c:v>0.65881761728705268</c:v>
                </c:pt>
                <c:pt idx="28">
                  <c:v>0.61967247169615347</c:v>
                </c:pt>
                <c:pt idx="29">
                  <c:v>0.60866108590936729</c:v>
                </c:pt>
                <c:pt idx="30">
                  <c:v>0.601760188944180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4A1-454A-B56F-BAAB6C631BA8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4A1-454A-B56F-BAAB6C631BA8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4A1-454A-B56F-BAAB6C631BA8}"/>
              </c:ext>
            </c:extLst>
          </c:dPt>
          <c:cat>
            <c:strRef>
              <c:f>List1!$A$2:$A$31</c:f>
              <c:strCache>
                <c:ptCount val="30"/>
                <c:pt idx="0">
                  <c:v>Norsko</c:v>
                </c:pt>
                <c:pt idx="1">
                  <c:v>Litva</c:v>
                </c:pt>
                <c:pt idx="2">
                  <c:v>Německo</c:v>
                </c:pt>
                <c:pt idx="3">
                  <c:v>Estonsko</c:v>
                </c:pt>
                <c:pt idx="4">
                  <c:v>Lichtenštejnsko</c:v>
                </c:pt>
                <c:pt idx="5">
                  <c:v>Lotyšsko</c:v>
                </c:pt>
                <c:pt idx="6">
                  <c:v>Nizozemsko</c:v>
                </c:pt>
                <c:pt idx="7">
                  <c:v>Island</c:v>
                </c:pt>
                <c:pt idx="8">
                  <c:v>Švédsko</c:v>
                </c:pt>
                <c:pt idx="9">
                  <c:v>Irsko</c:v>
                </c:pt>
                <c:pt idx="10">
                  <c:v>Finsko</c:v>
                </c:pt>
                <c:pt idx="11">
                  <c:v>Slovensko</c:v>
                </c:pt>
                <c:pt idx="12">
                  <c:v>Lucembursko</c:v>
                </c:pt>
                <c:pt idx="13">
                  <c:v>Maďarsko</c:v>
                </c:pt>
                <c:pt idx="14">
                  <c:v>Česká republika</c:v>
                </c:pt>
                <c:pt idx="15">
                  <c:v>Francie</c:v>
                </c:pt>
                <c:pt idx="16">
                  <c:v>Dánsko</c:v>
                </c:pt>
                <c:pt idx="17">
                  <c:v>Belgie</c:v>
                </c:pt>
                <c:pt idx="18">
                  <c:v>Polsko</c:v>
                </c:pt>
                <c:pt idx="19">
                  <c:v>Španělsko</c:v>
                </c:pt>
                <c:pt idx="20">
                  <c:v>Portugalsko</c:v>
                </c:pt>
                <c:pt idx="21">
                  <c:v>Rumunsko</c:v>
                </c:pt>
                <c:pt idx="22">
                  <c:v>Bulharsko</c:v>
                </c:pt>
                <c:pt idx="23">
                  <c:v>Slovinsko</c:v>
                </c:pt>
                <c:pt idx="24">
                  <c:v>Chorvatsko</c:v>
                </c:pt>
                <c:pt idx="25">
                  <c:v>Itálie</c:v>
                </c:pt>
                <c:pt idx="26">
                  <c:v>Malta</c:v>
                </c:pt>
                <c:pt idx="27">
                  <c:v>Rakousko</c:v>
                </c:pt>
                <c:pt idx="28">
                  <c:v>Kypr</c:v>
                </c:pt>
                <c:pt idx="29">
                  <c:v>Řec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5776916346572607</c:v>
                </c:pt>
                <c:pt idx="1">
                  <c:v>0.57597396079780905</c:v>
                </c:pt>
                <c:pt idx="2">
                  <c:v>0.56498697461322522</c:v>
                </c:pt>
                <c:pt idx="3">
                  <c:v>0.56227253928866827</c:v>
                </c:pt>
                <c:pt idx="4">
                  <c:v>0.54419809962568388</c:v>
                </c:pt>
                <c:pt idx="5">
                  <c:v>0.46549349655700079</c:v>
                </c:pt>
                <c:pt idx="6">
                  <c:v>0.42738966131225536</c:v>
                </c:pt>
                <c:pt idx="7">
                  <c:v>0.39904652483393421</c:v>
                </c:pt>
                <c:pt idx="8">
                  <c:v>0.30002683336480457</c:v>
                </c:pt>
                <c:pt idx="9">
                  <c:v>0.28859655059961481</c:v>
                </c:pt>
                <c:pt idx="10">
                  <c:v>0.28673626460372592</c:v>
                </c:pt>
                <c:pt idx="11">
                  <c:v>0.28632855214850034</c:v>
                </c:pt>
                <c:pt idx="12">
                  <c:v>0.28107267333006886</c:v>
                </c:pt>
                <c:pt idx="13">
                  <c:v>0.21383324773155282</c:v>
                </c:pt>
                <c:pt idx="14">
                  <c:v>0.21336325334310313</c:v>
                </c:pt>
                <c:pt idx="15">
                  <c:v>0.20588473166521762</c:v>
                </c:pt>
                <c:pt idx="16">
                  <c:v>0.20041386255793525</c:v>
                </c:pt>
                <c:pt idx="17">
                  <c:v>0.1784953673097851</c:v>
                </c:pt>
                <c:pt idx="18">
                  <c:v>0.1769721624606953</c:v>
                </c:pt>
                <c:pt idx="19">
                  <c:v>0.15879804470975209</c:v>
                </c:pt>
                <c:pt idx="20">
                  <c:v>0.15322964314512069</c:v>
                </c:pt>
                <c:pt idx="21">
                  <c:v>0.14592772707918392</c:v>
                </c:pt>
                <c:pt idx="22">
                  <c:v>0.14126720767486942</c:v>
                </c:pt>
                <c:pt idx="23">
                  <c:v>0.13301286473539264</c:v>
                </c:pt>
                <c:pt idx="24">
                  <c:v>0.10522299868796933</c:v>
                </c:pt>
                <c:pt idx="25">
                  <c:v>8.1435845005986093E-2</c:v>
                </c:pt>
                <c:pt idx="26">
                  <c:v>4.4627106557069397E-2</c:v>
                </c:pt>
                <c:pt idx="27">
                  <c:v>3.5048440188312713E-2</c:v>
                </c:pt>
                <c:pt idx="28">
                  <c:v>3.426165610401976E-2</c:v>
                </c:pt>
                <c:pt idx="29">
                  <c:v>2.17170630410803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8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28</c:f>
              <c:strCache>
                <c:ptCount val="27"/>
                <c:pt idx="0">
                  <c:v>Island</c:v>
                </c:pt>
                <c:pt idx="1">
                  <c:v>Lichtenštejnsko</c:v>
                </c:pt>
                <c:pt idx="2">
                  <c:v>Norsko</c:v>
                </c:pt>
                <c:pt idx="3">
                  <c:v>Německo</c:v>
                </c:pt>
                <c:pt idx="4">
                  <c:v>Estonsko</c:v>
                </c:pt>
                <c:pt idx="5">
                  <c:v>Nizozemsko</c:v>
                </c:pt>
                <c:pt idx="6">
                  <c:v>Lotyšsko</c:v>
                </c:pt>
                <c:pt idx="7">
                  <c:v>Litva</c:v>
                </c:pt>
                <c:pt idx="8">
                  <c:v>Finsko</c:v>
                </c:pt>
                <c:pt idx="9">
                  <c:v>Irsko</c:v>
                </c:pt>
                <c:pt idx="10">
                  <c:v>Lucembursko</c:v>
                </c:pt>
                <c:pt idx="11">
                  <c:v>Slovensko</c:v>
                </c:pt>
                <c:pt idx="12">
                  <c:v>Švédsko</c:v>
                </c:pt>
                <c:pt idx="13">
                  <c:v>Česká republika</c:v>
                </c:pt>
                <c:pt idx="14">
                  <c:v>Francie</c:v>
                </c:pt>
                <c:pt idx="15">
                  <c:v>Portugalsko</c:v>
                </c:pt>
                <c:pt idx="16">
                  <c:v>Maďarsko</c:v>
                </c:pt>
                <c:pt idx="17">
                  <c:v>Belgie</c:v>
                </c:pt>
                <c:pt idx="18">
                  <c:v>Dánsko</c:v>
                </c:pt>
                <c:pt idx="19">
                  <c:v>Polsko</c:v>
                </c:pt>
                <c:pt idx="20">
                  <c:v>Španělsko</c:v>
                </c:pt>
                <c:pt idx="21">
                  <c:v>Slovinsko</c:v>
                </c:pt>
                <c:pt idx="22">
                  <c:v>Bulharsko</c:v>
                </c:pt>
                <c:pt idx="23">
                  <c:v>Rumunsko</c:v>
                </c:pt>
                <c:pt idx="24">
                  <c:v>Chorvatsko</c:v>
                </c:pt>
                <c:pt idx="25">
                  <c:v>Itálie</c:v>
                </c:pt>
                <c:pt idx="26">
                  <c:v>Malta</c:v>
                </c:pt>
              </c:strCache>
            </c:strRef>
          </c:cat>
          <c:val>
            <c:numRef>
              <c:f>List1!$B$2:$B$28</c:f>
              <c:numCache>
                <c:formatCode>0.0%</c:formatCode>
                <c:ptCount val="27"/>
                <c:pt idx="0">
                  <c:v>0.27827213101056941</c:v>
                </c:pt>
                <c:pt idx="1">
                  <c:v>0.46868686868686871</c:v>
                </c:pt>
                <c:pt idx="2">
                  <c:v>0.57593238176675654</c:v>
                </c:pt>
                <c:pt idx="3">
                  <c:v>0.55274575758145195</c:v>
                </c:pt>
                <c:pt idx="4">
                  <c:v>0.57294621402374024</c:v>
                </c:pt>
                <c:pt idx="5">
                  <c:v>0.32509869004911507</c:v>
                </c:pt>
                <c:pt idx="6">
                  <c:v>0.4644026186579378</c:v>
                </c:pt>
                <c:pt idx="7">
                  <c:v>0.75659428291007236</c:v>
                </c:pt>
                <c:pt idx="8">
                  <c:v>0.27883553308995601</c:v>
                </c:pt>
                <c:pt idx="9">
                  <c:v>0.28687246647957593</c:v>
                </c:pt>
                <c:pt idx="10">
                  <c:v>0.27912939433650502</c:v>
                </c:pt>
                <c:pt idx="11">
                  <c:v>0.29159679750239331</c:v>
                </c:pt>
                <c:pt idx="12">
                  <c:v>0.31815724992793309</c:v>
                </c:pt>
                <c:pt idx="13">
                  <c:v>0.21241721171269806</c:v>
                </c:pt>
                <c:pt idx="14">
                  <c:v>0.20886498900982159</c:v>
                </c:pt>
                <c:pt idx="15">
                  <c:v>0.12179565954727554</c:v>
                </c:pt>
                <c:pt idx="16">
                  <c:v>0.22802537343973808</c:v>
                </c:pt>
                <c:pt idx="17">
                  <c:v>0.16968621024520514</c:v>
                </c:pt>
                <c:pt idx="18">
                  <c:v>0.21601936202778405</c:v>
                </c:pt>
                <c:pt idx="19">
                  <c:v>0.18787704109747963</c:v>
                </c:pt>
                <c:pt idx="20">
                  <c:v>0.16286415492011402</c:v>
                </c:pt>
                <c:pt idx="21">
                  <c:v>0.12119233056175613</c:v>
                </c:pt>
                <c:pt idx="22">
                  <c:v>0.15431078652820576</c:v>
                </c:pt>
                <c:pt idx="23">
                  <c:v>0.16651821103760395</c:v>
                </c:pt>
                <c:pt idx="24">
                  <c:v>0.10603455788564684</c:v>
                </c:pt>
                <c:pt idx="25">
                  <c:v>9.1314379622900371E-2</c:v>
                </c:pt>
                <c:pt idx="26">
                  <c:v>3.790066416401963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9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28</c:f>
              <c:strCache>
                <c:ptCount val="27"/>
                <c:pt idx="0">
                  <c:v>Island</c:v>
                </c:pt>
                <c:pt idx="1">
                  <c:v>Lichtenštejnsko</c:v>
                </c:pt>
                <c:pt idx="2">
                  <c:v>Norsko</c:v>
                </c:pt>
                <c:pt idx="3">
                  <c:v>Německo</c:v>
                </c:pt>
                <c:pt idx="4">
                  <c:v>Estonsko</c:v>
                </c:pt>
                <c:pt idx="5">
                  <c:v>Nizozemsko</c:v>
                </c:pt>
                <c:pt idx="6">
                  <c:v>Lotyšsko</c:v>
                </c:pt>
                <c:pt idx="7">
                  <c:v>Litva</c:v>
                </c:pt>
                <c:pt idx="8">
                  <c:v>Finsko</c:v>
                </c:pt>
                <c:pt idx="9">
                  <c:v>Irsko</c:v>
                </c:pt>
                <c:pt idx="10">
                  <c:v>Lucembursko</c:v>
                </c:pt>
                <c:pt idx="11">
                  <c:v>Slovensko</c:v>
                </c:pt>
                <c:pt idx="12">
                  <c:v>Švédsko</c:v>
                </c:pt>
                <c:pt idx="13">
                  <c:v>Česká republika</c:v>
                </c:pt>
                <c:pt idx="14">
                  <c:v>Francie</c:v>
                </c:pt>
                <c:pt idx="15">
                  <c:v>Portugalsko</c:v>
                </c:pt>
                <c:pt idx="16">
                  <c:v>Maďarsko</c:v>
                </c:pt>
                <c:pt idx="17">
                  <c:v>Belgie</c:v>
                </c:pt>
                <c:pt idx="18">
                  <c:v>Dánsko</c:v>
                </c:pt>
                <c:pt idx="19">
                  <c:v>Polsko</c:v>
                </c:pt>
                <c:pt idx="20">
                  <c:v>Španělsko</c:v>
                </c:pt>
                <c:pt idx="21">
                  <c:v>Slovinsko</c:v>
                </c:pt>
                <c:pt idx="22">
                  <c:v>Bulharsko</c:v>
                </c:pt>
                <c:pt idx="23">
                  <c:v>Rumunsko</c:v>
                </c:pt>
                <c:pt idx="24">
                  <c:v>Chorvatsko</c:v>
                </c:pt>
                <c:pt idx="25">
                  <c:v>Itálie</c:v>
                </c:pt>
                <c:pt idx="26">
                  <c:v>Malta</c:v>
                </c:pt>
              </c:strCache>
            </c:strRef>
          </c:cat>
          <c:val>
            <c:numRef>
              <c:f>List1!$C$2:$C$28</c:f>
              <c:numCache>
                <c:formatCode>0.0%</c:formatCode>
                <c:ptCount val="27"/>
                <c:pt idx="0">
                  <c:v>0.60666451219074291</c:v>
                </c:pt>
                <c:pt idx="1">
                  <c:v>0.60060362173038229</c:v>
                </c:pt>
                <c:pt idx="2">
                  <c:v>0.58029229018990114</c:v>
                </c:pt>
                <c:pt idx="3">
                  <c:v>0.57767263157894733</c:v>
                </c:pt>
                <c:pt idx="4">
                  <c:v>0.54799255517149692</c:v>
                </c:pt>
                <c:pt idx="5">
                  <c:v>0.54143783674471679</c:v>
                </c:pt>
                <c:pt idx="6">
                  <c:v>0.46683293560368183</c:v>
                </c:pt>
                <c:pt idx="7">
                  <c:v>0.45094328177130727</c:v>
                </c:pt>
                <c:pt idx="8">
                  <c:v>0.29554132153810847</c:v>
                </c:pt>
                <c:pt idx="9">
                  <c:v>0.29056260864984462</c:v>
                </c:pt>
                <c:pt idx="10">
                  <c:v>0.28305953629267155</c:v>
                </c:pt>
                <c:pt idx="11">
                  <c:v>0.27982057375721714</c:v>
                </c:pt>
                <c:pt idx="12">
                  <c:v>0.27772236629208502</c:v>
                </c:pt>
                <c:pt idx="13">
                  <c:v>0.21454329539831765</c:v>
                </c:pt>
                <c:pt idx="14">
                  <c:v>0.20257883209589869</c:v>
                </c:pt>
                <c:pt idx="15">
                  <c:v>0.2010851117852227</c:v>
                </c:pt>
                <c:pt idx="16">
                  <c:v>0.19537587021779396</c:v>
                </c:pt>
                <c:pt idx="17">
                  <c:v>0.18868065210812329</c:v>
                </c:pt>
                <c:pt idx="18">
                  <c:v>0.17893298813286027</c:v>
                </c:pt>
                <c:pt idx="19">
                  <c:v>0.16463584687441044</c:v>
                </c:pt>
                <c:pt idx="20">
                  <c:v>0.15405786466363794</c:v>
                </c:pt>
                <c:pt idx="21">
                  <c:v>0.14844028293725511</c:v>
                </c:pt>
                <c:pt idx="22">
                  <c:v>0.12404098165356207</c:v>
                </c:pt>
                <c:pt idx="23">
                  <c:v>0.12165248361925994</c:v>
                </c:pt>
                <c:pt idx="24">
                  <c:v>0.10406826661857041</c:v>
                </c:pt>
                <c:pt idx="25">
                  <c:v>7.0253320956338544E-2</c:v>
                </c:pt>
                <c:pt idx="26">
                  <c:v>5.19115002736298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H$2:$H$37</c:f>
              <c:numCache>
                <c:formatCode>0.0%</c:formatCode>
                <c:ptCount val="36"/>
                <c:pt idx="0">
                  <c:v>8.9867693557789119E-3</c:v>
                </c:pt>
                <c:pt idx="1">
                  <c:v>1.7590892914005282E-2</c:v>
                </c:pt>
                <c:pt idx="2">
                  <c:v>1.8972151244295528E-2</c:v>
                </c:pt>
                <c:pt idx="3">
                  <c:v>2.4622415215268364E-2</c:v>
                </c:pt>
                <c:pt idx="4">
                  <c:v>2.9400039085401602E-2</c:v>
                </c:pt>
                <c:pt idx="5">
                  <c:v>3.4785030105162061E-2</c:v>
                </c:pt>
                <c:pt idx="6">
                  <c:v>3.7961907307212252E-2</c:v>
                </c:pt>
                <c:pt idx="7">
                  <c:v>4.5126053436085833E-2</c:v>
                </c:pt>
                <c:pt idx="8">
                  <c:v>4.9234933224511432E-2</c:v>
                </c:pt>
                <c:pt idx="9">
                  <c:v>4.8767781581577324E-2</c:v>
                </c:pt>
                <c:pt idx="10">
                  <c:v>4.6002373668990189E-2</c:v>
                </c:pt>
                <c:pt idx="11">
                  <c:v>4.3773039436560086E-2</c:v>
                </c:pt>
                <c:pt idx="12">
                  <c:v>4.1042621530910532E-2</c:v>
                </c:pt>
                <c:pt idx="13">
                  <c:v>4.2871446830841944E-2</c:v>
                </c:pt>
                <c:pt idx="14">
                  <c:v>4.7695759737644554E-2</c:v>
                </c:pt>
                <c:pt idx="15">
                  <c:v>6.4971478569155944E-2</c:v>
                </c:pt>
                <c:pt idx="16">
                  <c:v>8.513971427111891E-2</c:v>
                </c:pt>
                <c:pt idx="17">
                  <c:v>9.2231106864128914E-2</c:v>
                </c:pt>
                <c:pt idx="18">
                  <c:v>0.11053915290717456</c:v>
                </c:pt>
                <c:pt idx="19">
                  <c:v>0.13001104449909845</c:v>
                </c:pt>
                <c:pt idx="20">
                  <c:v>0.14918011582909665</c:v>
                </c:pt>
                <c:pt idx="21">
                  <c:v>0.15018060024955671</c:v>
                </c:pt>
                <c:pt idx="22">
                  <c:v>0.15328191533145796</c:v>
                </c:pt>
                <c:pt idx="23">
                  <c:v>0.14208313349320545</c:v>
                </c:pt>
                <c:pt idx="24">
                  <c:v>0.11158259972570303</c:v>
                </c:pt>
                <c:pt idx="25">
                  <c:v>0.10078891676861121</c:v>
                </c:pt>
                <c:pt idx="26">
                  <c:v>0.16588295703197409</c:v>
                </c:pt>
                <c:pt idx="27">
                  <c:v>0.25704497862207693</c:v>
                </c:pt>
                <c:pt idx="28">
                  <c:v>0.32831596998503215</c:v>
                </c:pt>
                <c:pt idx="29">
                  <c:v>0.4332780408211554</c:v>
                </c:pt>
                <c:pt idx="30">
                  <c:v>0.41114707385439736</c:v>
                </c:pt>
                <c:pt idx="31">
                  <c:v>0.34847165015225301</c:v>
                </c:pt>
                <c:pt idx="32">
                  <c:v>0.27038337543958663</c:v>
                </c:pt>
                <c:pt idx="33">
                  <c:v>0.20824016303288734</c:v>
                </c:pt>
                <c:pt idx="34">
                  <c:v>0.16968621024520514</c:v>
                </c:pt>
                <c:pt idx="35">
                  <c:v>0.18868065210812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C$2:$C$37</c:f>
              <c:numCache>
                <c:formatCode>0.0%</c:formatCode>
                <c:ptCount val="36"/>
                <c:pt idx="0">
                  <c:v>1.1517058156047645E-3</c:v>
                </c:pt>
                <c:pt idx="1">
                  <c:v>2.5317255698706067E-3</c:v>
                </c:pt>
                <c:pt idx="2">
                  <c:v>2.2194270819700136E-3</c:v>
                </c:pt>
                <c:pt idx="3">
                  <c:v>1.8728172958068549E-3</c:v>
                </c:pt>
                <c:pt idx="4">
                  <c:v>1.5770761194128669E-3</c:v>
                </c:pt>
                <c:pt idx="5">
                  <c:v>1.6438917737086635E-3</c:v>
                </c:pt>
                <c:pt idx="6">
                  <c:v>1.7273342910188042E-3</c:v>
                </c:pt>
                <c:pt idx="7">
                  <c:v>1.931985790556121E-3</c:v>
                </c:pt>
                <c:pt idx="8">
                  <c:v>2.339778359177249E-3</c:v>
                </c:pt>
                <c:pt idx="9">
                  <c:v>3.1286782447349348E-3</c:v>
                </c:pt>
                <c:pt idx="10">
                  <c:v>4.9506360086636128E-3</c:v>
                </c:pt>
                <c:pt idx="11">
                  <c:v>6.069964746751976E-3</c:v>
                </c:pt>
                <c:pt idx="12">
                  <c:v>6.3731746047209423E-3</c:v>
                </c:pt>
                <c:pt idx="13">
                  <c:v>9.8494057561632573E-3</c:v>
                </c:pt>
                <c:pt idx="14">
                  <c:v>1.3399795603918858E-2</c:v>
                </c:pt>
                <c:pt idx="15">
                  <c:v>1.9520761849138944E-2</c:v>
                </c:pt>
                <c:pt idx="16">
                  <c:v>3.6602253361266719E-2</c:v>
                </c:pt>
                <c:pt idx="17">
                  <c:v>4.8995597373232259E-2</c:v>
                </c:pt>
                <c:pt idx="18">
                  <c:v>8.8419311000771134E-2</c:v>
                </c:pt>
                <c:pt idx="19">
                  <c:v>0.10899667932024398</c:v>
                </c:pt>
                <c:pt idx="20">
                  <c:v>0.13501847864592101</c:v>
                </c:pt>
                <c:pt idx="21">
                  <c:v>0.16106380847440649</c:v>
                </c:pt>
                <c:pt idx="22">
                  <c:v>0.1452800028440219</c:v>
                </c:pt>
                <c:pt idx="23">
                  <c:v>0.13000785378000579</c:v>
                </c:pt>
                <c:pt idx="24">
                  <c:v>0.10551272166538166</c:v>
                </c:pt>
                <c:pt idx="25">
                  <c:v>8.2783702276785984E-2</c:v>
                </c:pt>
                <c:pt idx="26">
                  <c:v>9.8835896051522487E-2</c:v>
                </c:pt>
                <c:pt idx="27">
                  <c:v>8.7951987716045912E-2</c:v>
                </c:pt>
                <c:pt idx="28">
                  <c:v>0.12136886320553825</c:v>
                </c:pt>
                <c:pt idx="29">
                  <c:v>0.18226923230605011</c:v>
                </c:pt>
                <c:pt idx="30">
                  <c:v>0.23272346708030425</c:v>
                </c:pt>
                <c:pt idx="31">
                  <c:v>0.2396255557178936</c:v>
                </c:pt>
                <c:pt idx="32">
                  <c:v>0.22873134917275628</c:v>
                </c:pt>
                <c:pt idx="33">
                  <c:v>0.20271301237597861</c:v>
                </c:pt>
                <c:pt idx="34">
                  <c:v>0.21241721171269806</c:v>
                </c:pt>
                <c:pt idx="35">
                  <c:v>0.214543295398317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D$2:$D$37</c:f>
              <c:numCache>
                <c:formatCode>0.0%</c:formatCode>
                <c:ptCount val="36"/>
                <c:pt idx="0">
                  <c:v>8.7743639303792011E-3</c:v>
                </c:pt>
                <c:pt idx="1">
                  <c:v>1.2407202619028043E-2</c:v>
                </c:pt>
                <c:pt idx="2">
                  <c:v>2.3378893884813186E-2</c:v>
                </c:pt>
                <c:pt idx="3">
                  <c:v>4.2076159564349735E-2</c:v>
                </c:pt>
                <c:pt idx="4">
                  <c:v>4.2618263732455378E-2</c:v>
                </c:pt>
                <c:pt idx="5">
                  <c:v>4.3305743173333432E-2</c:v>
                </c:pt>
                <c:pt idx="6">
                  <c:v>3.5691828298066018E-2</c:v>
                </c:pt>
                <c:pt idx="7">
                  <c:v>3.1057260114972538E-2</c:v>
                </c:pt>
                <c:pt idx="8">
                  <c:v>2.8494347519878557E-2</c:v>
                </c:pt>
                <c:pt idx="9">
                  <c:v>2.4630632269883723E-2</c:v>
                </c:pt>
                <c:pt idx="10">
                  <c:v>1.9954781460228933E-2</c:v>
                </c:pt>
                <c:pt idx="11">
                  <c:v>1.4879269519677944E-2</c:v>
                </c:pt>
                <c:pt idx="12">
                  <c:v>1.2461365680182484E-2</c:v>
                </c:pt>
                <c:pt idx="13">
                  <c:v>1.0940178320000707E-2</c:v>
                </c:pt>
                <c:pt idx="14">
                  <c:v>1.0219963646944673E-2</c:v>
                </c:pt>
                <c:pt idx="15">
                  <c:v>1.1529827699139957E-2</c:v>
                </c:pt>
                <c:pt idx="16">
                  <c:v>1.7536007395283458E-2</c:v>
                </c:pt>
                <c:pt idx="17">
                  <c:v>2.1321999384926842E-2</c:v>
                </c:pt>
                <c:pt idx="18">
                  <c:v>2.9361010393789341E-2</c:v>
                </c:pt>
                <c:pt idx="19">
                  <c:v>3.610796744224707E-2</c:v>
                </c:pt>
                <c:pt idx="20">
                  <c:v>4.7830374559951212E-2</c:v>
                </c:pt>
                <c:pt idx="21">
                  <c:v>5.6620310421184351E-2</c:v>
                </c:pt>
                <c:pt idx="22">
                  <c:v>6.4567926298003023E-2</c:v>
                </c:pt>
                <c:pt idx="23">
                  <c:v>6.6628787641547255E-2</c:v>
                </c:pt>
                <c:pt idx="24">
                  <c:v>6.7942473851072646E-2</c:v>
                </c:pt>
                <c:pt idx="25">
                  <c:v>8.3196439462180929E-2</c:v>
                </c:pt>
                <c:pt idx="26">
                  <c:v>0.16929061897830538</c:v>
                </c:pt>
                <c:pt idx="27">
                  <c:v>0.20191556692272886</c:v>
                </c:pt>
                <c:pt idx="28">
                  <c:v>0.22901896117841777</c:v>
                </c:pt>
                <c:pt idx="29">
                  <c:v>0.31210067829523158</c:v>
                </c:pt>
                <c:pt idx="30">
                  <c:v>0.34234847520375028</c:v>
                </c:pt>
                <c:pt idx="31">
                  <c:v>0.33387090359491628</c:v>
                </c:pt>
                <c:pt idx="32">
                  <c:v>0.28941657268452214</c:v>
                </c:pt>
                <c:pt idx="33">
                  <c:v>0.2449521820208993</c:v>
                </c:pt>
                <c:pt idx="34">
                  <c:v>0.20886498900982159</c:v>
                </c:pt>
                <c:pt idx="35">
                  <c:v>0.20257883209589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F$2:$F$37</c:f>
              <c:numCache>
                <c:formatCode>0.0%</c:formatCode>
                <c:ptCount val="36"/>
                <c:pt idx="0">
                  <c:v>4.6617385902790014E-3</c:v>
                </c:pt>
                <c:pt idx="1">
                  <c:v>7.5476541942108982E-3</c:v>
                </c:pt>
                <c:pt idx="2">
                  <c:v>1.4702685180351015E-2</c:v>
                </c:pt>
                <c:pt idx="3">
                  <c:v>2.1809530840192048E-2</c:v>
                </c:pt>
                <c:pt idx="4">
                  <c:v>2.5897434860391533E-2</c:v>
                </c:pt>
                <c:pt idx="5">
                  <c:v>2.9103563489611389E-2</c:v>
                </c:pt>
                <c:pt idx="6">
                  <c:v>3.0159916201117319E-2</c:v>
                </c:pt>
                <c:pt idx="7">
                  <c:v>3.249356766855644E-2</c:v>
                </c:pt>
                <c:pt idx="8">
                  <c:v>2.8539069384095325E-2</c:v>
                </c:pt>
                <c:pt idx="9">
                  <c:v>2.1046625966882785E-2</c:v>
                </c:pt>
                <c:pt idx="10">
                  <c:v>1.7091444814521212E-2</c:v>
                </c:pt>
                <c:pt idx="11">
                  <c:v>1.4703654023534388E-2</c:v>
                </c:pt>
                <c:pt idx="12">
                  <c:v>1.1975563622835457E-2</c:v>
                </c:pt>
                <c:pt idx="13">
                  <c:v>1.045044865055204E-2</c:v>
                </c:pt>
                <c:pt idx="14">
                  <c:v>9.355487813723317E-3</c:v>
                </c:pt>
                <c:pt idx="15">
                  <c:v>7.4868933403920779E-3</c:v>
                </c:pt>
                <c:pt idx="16">
                  <c:v>7.6609130111899865E-3</c:v>
                </c:pt>
                <c:pt idx="17">
                  <c:v>1.0056920841907678E-2</c:v>
                </c:pt>
                <c:pt idx="18">
                  <c:v>1.2634241242615396E-2</c:v>
                </c:pt>
                <c:pt idx="19">
                  <c:v>1.5582999555604708E-2</c:v>
                </c:pt>
                <c:pt idx="20">
                  <c:v>1.8716786527483695E-2</c:v>
                </c:pt>
                <c:pt idx="21">
                  <c:v>2.2514463547272788E-2</c:v>
                </c:pt>
                <c:pt idx="22">
                  <c:v>2.6189979681718597E-2</c:v>
                </c:pt>
                <c:pt idx="23">
                  <c:v>3.3724221106736722E-2</c:v>
                </c:pt>
                <c:pt idx="24">
                  <c:v>3.9572754373753773E-2</c:v>
                </c:pt>
                <c:pt idx="25">
                  <c:v>5.9255951014144617E-2</c:v>
                </c:pt>
                <c:pt idx="26">
                  <c:v>0.1317857875941067</c:v>
                </c:pt>
                <c:pt idx="27">
                  <c:v>0.18179670550300328</c:v>
                </c:pt>
                <c:pt idx="28">
                  <c:v>0.15656528760029045</c:v>
                </c:pt>
                <c:pt idx="29">
                  <c:v>0.15427320043166859</c:v>
                </c:pt>
                <c:pt idx="30">
                  <c:v>0.13031084114937061</c:v>
                </c:pt>
                <c:pt idx="31">
                  <c:v>0.10668203422968596</c:v>
                </c:pt>
                <c:pt idx="32">
                  <c:v>9.8517293743195872E-2</c:v>
                </c:pt>
                <c:pt idx="33">
                  <c:v>9.9392972635914095E-2</c:v>
                </c:pt>
                <c:pt idx="34">
                  <c:v>9.1314379622900371E-2</c:v>
                </c:pt>
                <c:pt idx="35">
                  <c:v>7.025332095633854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J$2:$J$37</c:f>
              <c:numCache>
                <c:formatCode>0.0%</c:formatCode>
                <c:ptCount val="36"/>
                <c:pt idx="0">
                  <c:v>4.6165145315286956E-3</c:v>
                </c:pt>
                <c:pt idx="1">
                  <c:v>5.932112645893565E-3</c:v>
                </c:pt>
                <c:pt idx="2">
                  <c:v>7.0108074292987033E-3</c:v>
                </c:pt>
                <c:pt idx="3">
                  <c:v>8.5268660553603562E-3</c:v>
                </c:pt>
                <c:pt idx="4">
                  <c:v>8.2225220016701999E-3</c:v>
                </c:pt>
                <c:pt idx="5">
                  <c:v>7.7855040313979775E-3</c:v>
                </c:pt>
                <c:pt idx="6">
                  <c:v>9.8493626882966388E-3</c:v>
                </c:pt>
                <c:pt idx="7">
                  <c:v>1.1483342639121534E-2</c:v>
                </c:pt>
                <c:pt idx="8">
                  <c:v>1.714011189114634E-2</c:v>
                </c:pt>
                <c:pt idx="9">
                  <c:v>2.0650760445524961E-2</c:v>
                </c:pt>
                <c:pt idx="10">
                  <c:v>2.344409250449437E-2</c:v>
                </c:pt>
                <c:pt idx="11">
                  <c:v>2.7386688359093091E-2</c:v>
                </c:pt>
                <c:pt idx="12">
                  <c:v>3.28770989135036E-2</c:v>
                </c:pt>
                <c:pt idx="13">
                  <c:v>4.4005792797945746E-2</c:v>
                </c:pt>
                <c:pt idx="14">
                  <c:v>5.0057914636011974E-2</c:v>
                </c:pt>
                <c:pt idx="15">
                  <c:v>6.8871645587227151E-2</c:v>
                </c:pt>
                <c:pt idx="16">
                  <c:v>0.11984589665911424</c:v>
                </c:pt>
                <c:pt idx="17">
                  <c:v>0.16136845697309521</c:v>
                </c:pt>
                <c:pt idx="18">
                  <c:v>0.20132975089940344</c:v>
                </c:pt>
                <c:pt idx="19">
                  <c:v>0.22405975279264989</c:v>
                </c:pt>
                <c:pt idx="20">
                  <c:v>0.23216177902514462</c:v>
                </c:pt>
                <c:pt idx="21">
                  <c:v>0.24564115866839603</c:v>
                </c:pt>
                <c:pt idx="22">
                  <c:v>0.25009453194357678</c:v>
                </c:pt>
                <c:pt idx="23">
                  <c:v>0.22101900279405715</c:v>
                </c:pt>
                <c:pt idx="24">
                  <c:v>0.18354848356468215</c:v>
                </c:pt>
                <c:pt idx="25">
                  <c:v>0.16831643768839721</c:v>
                </c:pt>
                <c:pt idx="26">
                  <c:v>0.19135301019947648</c:v>
                </c:pt>
                <c:pt idx="27">
                  <c:v>0.22770981837868495</c:v>
                </c:pt>
                <c:pt idx="28">
                  <c:v>0.2949646576188617</c:v>
                </c:pt>
                <c:pt idx="29">
                  <c:v>0.35231291153411221</c:v>
                </c:pt>
                <c:pt idx="30">
                  <c:v>0.39168989017060096</c:v>
                </c:pt>
                <c:pt idx="31">
                  <c:v>0.39053801475169325</c:v>
                </c:pt>
                <c:pt idx="32">
                  <c:v>0.3739528398421248</c:v>
                </c:pt>
                <c:pt idx="33">
                  <c:v>0.29039402488721699</c:v>
                </c:pt>
                <c:pt idx="34">
                  <c:v>0.22802537343973808</c:v>
                </c:pt>
                <c:pt idx="35">
                  <c:v>0.19537587021779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E$2:$E$37</c:f>
              <c:numCache>
                <c:formatCode>0.0%</c:formatCode>
                <c:ptCount val="36"/>
                <c:pt idx="0">
                  <c:v>5.9822420141035391E-3</c:v>
                </c:pt>
                <c:pt idx="1">
                  <c:v>9.0517332260727553E-3</c:v>
                </c:pt>
                <c:pt idx="2">
                  <c:v>1.4865195878308866E-2</c:v>
                </c:pt>
                <c:pt idx="3">
                  <c:v>2.1085338101701819E-2</c:v>
                </c:pt>
                <c:pt idx="4">
                  <c:v>2.6381597525832124E-2</c:v>
                </c:pt>
                <c:pt idx="5">
                  <c:v>3.4343831954768957E-2</c:v>
                </c:pt>
                <c:pt idx="6">
                  <c:v>5.5990515468237641E-2</c:v>
                </c:pt>
                <c:pt idx="7">
                  <c:v>7.1338952723823484E-2</c:v>
                </c:pt>
                <c:pt idx="8">
                  <c:v>7.6603171195379294E-2</c:v>
                </c:pt>
                <c:pt idx="9">
                  <c:v>7.8522981323371904E-2</c:v>
                </c:pt>
                <c:pt idx="10">
                  <c:v>7.0540252193802624E-2</c:v>
                </c:pt>
                <c:pt idx="11">
                  <c:v>6.2254527035583131E-2</c:v>
                </c:pt>
                <c:pt idx="12">
                  <c:v>5.5359494337634978E-2</c:v>
                </c:pt>
                <c:pt idx="13">
                  <c:v>5.8216185018757471E-2</c:v>
                </c:pt>
                <c:pt idx="14">
                  <c:v>6.0161996147690536E-2</c:v>
                </c:pt>
                <c:pt idx="15">
                  <c:v>7.5626177482143939E-2</c:v>
                </c:pt>
                <c:pt idx="16">
                  <c:v>0.10700954687648845</c:v>
                </c:pt>
                <c:pt idx="17">
                  <c:v>0.11714508961774607</c:v>
                </c:pt>
                <c:pt idx="18">
                  <c:v>0.14852127475709431</c:v>
                </c:pt>
                <c:pt idx="19">
                  <c:v>0.16558404697523668</c:v>
                </c:pt>
                <c:pt idx="20">
                  <c:v>0.18791963161373082</c:v>
                </c:pt>
                <c:pt idx="21">
                  <c:v>0.20653371080795033</c:v>
                </c:pt>
                <c:pt idx="22">
                  <c:v>0.19902840707252398</c:v>
                </c:pt>
                <c:pt idx="23">
                  <c:v>0.19409507653318886</c:v>
                </c:pt>
                <c:pt idx="24">
                  <c:v>0.17572479824078036</c:v>
                </c:pt>
                <c:pt idx="25">
                  <c:v>0.15574228657062592</c:v>
                </c:pt>
                <c:pt idx="26">
                  <c:v>0.2172670424611694</c:v>
                </c:pt>
                <c:pt idx="27">
                  <c:v>0.22540019295404373</c:v>
                </c:pt>
                <c:pt idx="28">
                  <c:v>0.23667779224611718</c:v>
                </c:pt>
                <c:pt idx="29">
                  <c:v>0.31515047825439524</c:v>
                </c:pt>
                <c:pt idx="30">
                  <c:v>0.43232450789827559</c:v>
                </c:pt>
                <c:pt idx="31">
                  <c:v>0.49247354927887049</c:v>
                </c:pt>
                <c:pt idx="32">
                  <c:v>0.52345952932997464</c:v>
                </c:pt>
                <c:pt idx="33">
                  <c:v>0.55327008022553403</c:v>
                </c:pt>
                <c:pt idx="34">
                  <c:v>0.55274575758145195</c:v>
                </c:pt>
                <c:pt idx="35">
                  <c:v>0.577672631578947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G$2:$G$37</c:f>
              <c:numCache>
                <c:formatCode>0.0%</c:formatCode>
                <c:ptCount val="36"/>
                <c:pt idx="0">
                  <c:v>1.2664570792401693E-2</c:v>
                </c:pt>
                <c:pt idx="1">
                  <c:v>7.2728118055103541E-2</c:v>
                </c:pt>
                <c:pt idx="2">
                  <c:v>9.4513251430027409E-2</c:v>
                </c:pt>
                <c:pt idx="3">
                  <c:v>4.2831293747916763E-2</c:v>
                </c:pt>
                <c:pt idx="4">
                  <c:v>3.0733414462694352E-2</c:v>
                </c:pt>
                <c:pt idx="5">
                  <c:v>2.7825005631342974E-2</c:v>
                </c:pt>
                <c:pt idx="6">
                  <c:v>3.1657769141141545E-2</c:v>
                </c:pt>
                <c:pt idx="7">
                  <c:v>3.5899046398424672E-2</c:v>
                </c:pt>
                <c:pt idx="8">
                  <c:v>4.3226967033073598E-2</c:v>
                </c:pt>
                <c:pt idx="9">
                  <c:v>4.5557040469347422E-2</c:v>
                </c:pt>
                <c:pt idx="10">
                  <c:v>4.3038105046343977E-2</c:v>
                </c:pt>
                <c:pt idx="11">
                  <c:v>3.6923409141183784E-2</c:v>
                </c:pt>
                <c:pt idx="12">
                  <c:v>2.4035884092889627E-2</c:v>
                </c:pt>
                <c:pt idx="13">
                  <c:v>2.0344820293002074E-2</c:v>
                </c:pt>
                <c:pt idx="14">
                  <c:v>3.3618541147443969E-2</c:v>
                </c:pt>
                <c:pt idx="15">
                  <c:v>3.4935340667824742E-2</c:v>
                </c:pt>
                <c:pt idx="16">
                  <c:v>4.5094150060073744E-2</c:v>
                </c:pt>
                <c:pt idx="17">
                  <c:v>6.2254394775862025E-2</c:v>
                </c:pt>
                <c:pt idx="18">
                  <c:v>7.3599111462349279E-2</c:v>
                </c:pt>
                <c:pt idx="19">
                  <c:v>8.4867431973635735E-2</c:v>
                </c:pt>
                <c:pt idx="20">
                  <c:v>0.1166082560851078</c:v>
                </c:pt>
                <c:pt idx="21">
                  <c:v>0.11913992452578399</c:v>
                </c:pt>
                <c:pt idx="22">
                  <c:v>0.13478896319588998</c:v>
                </c:pt>
                <c:pt idx="23">
                  <c:v>0.13769182054994006</c:v>
                </c:pt>
                <c:pt idx="24">
                  <c:v>0.13153654819320829</c:v>
                </c:pt>
                <c:pt idx="25">
                  <c:v>0.14066497853495935</c:v>
                </c:pt>
                <c:pt idx="26">
                  <c:v>0.1893998807622938</c:v>
                </c:pt>
                <c:pt idx="27">
                  <c:v>0.25259869022583892</c:v>
                </c:pt>
                <c:pt idx="28">
                  <c:v>0.27764110424510607</c:v>
                </c:pt>
                <c:pt idx="29">
                  <c:v>0.34741938193452815</c:v>
                </c:pt>
                <c:pt idx="30">
                  <c:v>0.39494518202237194</c:v>
                </c:pt>
                <c:pt idx="31">
                  <c:v>0.43655526343334583</c:v>
                </c:pt>
                <c:pt idx="32">
                  <c:v>0.40533996091418584</c:v>
                </c:pt>
                <c:pt idx="33">
                  <c:v>0.36542032099954369</c:v>
                </c:pt>
                <c:pt idx="34">
                  <c:v>0.32509869004911507</c:v>
                </c:pt>
                <c:pt idx="35">
                  <c:v>0.54143783674471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I$2:$I$37</c:f>
              <c:numCache>
                <c:formatCode>0.0%</c:formatCode>
                <c:ptCount val="36"/>
                <c:pt idx="0">
                  <c:v>2.1344901189314447E-3</c:v>
                </c:pt>
                <c:pt idx="1">
                  <c:v>2.0111258354252631E-3</c:v>
                </c:pt>
                <c:pt idx="2">
                  <c:v>2.3433512530782099E-3</c:v>
                </c:pt>
                <c:pt idx="3">
                  <c:v>2.8143125717401832E-3</c:v>
                </c:pt>
                <c:pt idx="4">
                  <c:v>3.483765110247946E-3</c:v>
                </c:pt>
                <c:pt idx="5">
                  <c:v>3.8001043022869918E-3</c:v>
                </c:pt>
                <c:pt idx="6">
                  <c:v>4.7280722475605544E-3</c:v>
                </c:pt>
                <c:pt idx="7">
                  <c:v>5.0274835768869819E-3</c:v>
                </c:pt>
                <c:pt idx="8">
                  <c:v>6.2417235210754972E-3</c:v>
                </c:pt>
                <c:pt idx="9">
                  <c:v>8.9875520632396125E-3</c:v>
                </c:pt>
                <c:pt idx="10">
                  <c:v>1.2670956577321677E-2</c:v>
                </c:pt>
                <c:pt idx="11">
                  <c:v>1.6751379694115217E-2</c:v>
                </c:pt>
                <c:pt idx="12">
                  <c:v>2.0444139194139194E-2</c:v>
                </c:pt>
                <c:pt idx="13">
                  <c:v>2.9341924839187968E-2</c:v>
                </c:pt>
                <c:pt idx="14">
                  <c:v>4.6197617026627683E-2</c:v>
                </c:pt>
                <c:pt idx="15">
                  <c:v>6.6678390888034927E-2</c:v>
                </c:pt>
                <c:pt idx="16">
                  <c:v>0.11175634569997235</c:v>
                </c:pt>
                <c:pt idx="17">
                  <c:v>0.15054810327419588</c:v>
                </c:pt>
                <c:pt idx="18">
                  <c:v>0.19202110339815676</c:v>
                </c:pt>
                <c:pt idx="19">
                  <c:v>0.2228222939699312</c:v>
                </c:pt>
                <c:pt idx="20">
                  <c:v>0.24583406029879135</c:v>
                </c:pt>
                <c:pt idx="21">
                  <c:v>0.25382659606727159</c:v>
                </c:pt>
                <c:pt idx="22">
                  <c:v>0.24777299622639223</c:v>
                </c:pt>
                <c:pt idx="23">
                  <c:v>0.23529259911104902</c:v>
                </c:pt>
                <c:pt idx="24">
                  <c:v>0.20158611181963143</c:v>
                </c:pt>
                <c:pt idx="25">
                  <c:v>0.16609146146957882</c:v>
                </c:pt>
                <c:pt idx="26">
                  <c:v>0.14003577931714339</c:v>
                </c:pt>
                <c:pt idx="27">
                  <c:v>0.14660029373219902</c:v>
                </c:pt>
                <c:pt idx="28">
                  <c:v>0.16684218493385919</c:v>
                </c:pt>
                <c:pt idx="29">
                  <c:v>0.26552017005285683</c:v>
                </c:pt>
                <c:pt idx="30">
                  <c:v>0.30805804850105023</c:v>
                </c:pt>
                <c:pt idx="31">
                  <c:v>0.32726372532871495</c:v>
                </c:pt>
                <c:pt idx="32">
                  <c:v>0.27033280450631919</c:v>
                </c:pt>
                <c:pt idx="33">
                  <c:v>0.21960378876622533</c:v>
                </c:pt>
                <c:pt idx="34">
                  <c:v>0.18787704109747963</c:v>
                </c:pt>
                <c:pt idx="35">
                  <c:v>0.164635846874410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B$2:$B$37</c:f>
              <c:numCache>
                <c:formatCode>0.0%</c:formatCode>
                <c:ptCount val="36"/>
                <c:pt idx="0">
                  <c:v>1.3166365240795764E-4</c:v>
                </c:pt>
                <c:pt idx="1">
                  <c:v>2.684131283243138E-4</c:v>
                </c:pt>
                <c:pt idx="2">
                  <c:v>6.4438783156001796E-4</c:v>
                </c:pt>
                <c:pt idx="3">
                  <c:v>9.0230684916086886E-4</c:v>
                </c:pt>
                <c:pt idx="4">
                  <c:v>1.0093815667241268E-3</c:v>
                </c:pt>
                <c:pt idx="5">
                  <c:v>1.3509894053988735E-3</c:v>
                </c:pt>
                <c:pt idx="6">
                  <c:v>2.2830970728304483E-3</c:v>
                </c:pt>
                <c:pt idx="7">
                  <c:v>2.9097161791043053E-3</c:v>
                </c:pt>
                <c:pt idx="8">
                  <c:v>3.4908972523427415E-3</c:v>
                </c:pt>
                <c:pt idx="9">
                  <c:v>3.9796939162708442E-3</c:v>
                </c:pt>
                <c:pt idx="10">
                  <c:v>4.2491950404701072E-3</c:v>
                </c:pt>
                <c:pt idx="11">
                  <c:v>4.6210056098766094E-3</c:v>
                </c:pt>
                <c:pt idx="12">
                  <c:v>3.7184898056857522E-3</c:v>
                </c:pt>
                <c:pt idx="13">
                  <c:v>4.1767487026011648E-3</c:v>
                </c:pt>
                <c:pt idx="14">
                  <c:v>3.4909589787743469E-3</c:v>
                </c:pt>
                <c:pt idx="15">
                  <c:v>4.2731511735725628E-3</c:v>
                </c:pt>
                <c:pt idx="16">
                  <c:v>6.4632300327374589E-3</c:v>
                </c:pt>
                <c:pt idx="17">
                  <c:v>1.1246294633142253E-2</c:v>
                </c:pt>
                <c:pt idx="18">
                  <c:v>1.1862572033706147E-2</c:v>
                </c:pt>
                <c:pt idx="19">
                  <c:v>1.8290133342738591E-2</c:v>
                </c:pt>
                <c:pt idx="20">
                  <c:v>1.6461376773693338E-2</c:v>
                </c:pt>
                <c:pt idx="21">
                  <c:v>1.0562304283483365E-2</c:v>
                </c:pt>
                <c:pt idx="22">
                  <c:v>8.4507828175719689E-3</c:v>
                </c:pt>
                <c:pt idx="23">
                  <c:v>5.7861567684690477E-3</c:v>
                </c:pt>
                <c:pt idx="24">
                  <c:v>3.1482370473439034E-3</c:v>
                </c:pt>
                <c:pt idx="25">
                  <c:v>3.068613133177894E-3</c:v>
                </c:pt>
                <c:pt idx="26">
                  <c:v>4.7749537265076615E-3</c:v>
                </c:pt>
                <c:pt idx="27">
                  <c:v>1.4989608276528524E-2</c:v>
                </c:pt>
                <c:pt idx="28">
                  <c:v>1.3958947592938786E-2</c:v>
                </c:pt>
                <c:pt idx="29">
                  <c:v>2.2655743878844187E-2</c:v>
                </c:pt>
                <c:pt idx="30">
                  <c:v>2.8695540237312179E-2</c:v>
                </c:pt>
                <c:pt idx="31">
                  <c:v>2.9219476876192012E-2</c:v>
                </c:pt>
                <c:pt idx="32">
                  <c:v>3.5396963427385422E-2</c:v>
                </c:pt>
                <c:pt idx="33">
                  <c:v>3.1549080896931217E-2</c:v>
                </c:pt>
                <c:pt idx="34">
                  <c:v>3.2518994891294763E-2</c:v>
                </c:pt>
                <c:pt idx="35">
                  <c:v>3.754279228400563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K$2:$K$37</c:f>
              <c:numCache>
                <c:formatCode>0.0%</c:formatCode>
                <c:ptCount val="36"/>
                <c:pt idx="0">
                  <c:v>1.0677334676159702E-3</c:v>
                </c:pt>
                <c:pt idx="1">
                  <c:v>2.4285447412665793E-3</c:v>
                </c:pt>
                <c:pt idx="2">
                  <c:v>2.2151018431707894E-3</c:v>
                </c:pt>
                <c:pt idx="3">
                  <c:v>3.1765375740442918E-3</c:v>
                </c:pt>
                <c:pt idx="4">
                  <c:v>4.1363613873633166E-3</c:v>
                </c:pt>
                <c:pt idx="5">
                  <c:v>4.4324937503938825E-3</c:v>
                </c:pt>
                <c:pt idx="6">
                  <c:v>5.7273653111229875E-3</c:v>
                </c:pt>
                <c:pt idx="7">
                  <c:v>5.9536372590403824E-3</c:v>
                </c:pt>
                <c:pt idx="8">
                  <c:v>7.3170949083357839E-3</c:v>
                </c:pt>
                <c:pt idx="9">
                  <c:v>1.1196375255355927E-2</c:v>
                </c:pt>
                <c:pt idx="10">
                  <c:v>1.7050535120214604E-2</c:v>
                </c:pt>
                <c:pt idx="11">
                  <c:v>2.8315500796283626E-2</c:v>
                </c:pt>
                <c:pt idx="12">
                  <c:v>2.9621302416296458E-2</c:v>
                </c:pt>
                <c:pt idx="13">
                  <c:v>3.8364537541376954E-2</c:v>
                </c:pt>
                <c:pt idx="14">
                  <c:v>4.5630007586937131E-2</c:v>
                </c:pt>
                <c:pt idx="15">
                  <c:v>5.5002372731586785E-2</c:v>
                </c:pt>
                <c:pt idx="16">
                  <c:v>8.3156289557254848E-2</c:v>
                </c:pt>
                <c:pt idx="17">
                  <c:v>0.1123544383475417</c:v>
                </c:pt>
                <c:pt idx="18">
                  <c:v>0.13808626432166271</c:v>
                </c:pt>
                <c:pt idx="19">
                  <c:v>0.13431291607010357</c:v>
                </c:pt>
                <c:pt idx="20">
                  <c:v>0.1500915177496267</c:v>
                </c:pt>
                <c:pt idx="21">
                  <c:v>0.13441968837073959</c:v>
                </c:pt>
                <c:pt idx="22">
                  <c:v>0.12895144785634807</c:v>
                </c:pt>
                <c:pt idx="23">
                  <c:v>0.11794603091433063</c:v>
                </c:pt>
                <c:pt idx="24">
                  <c:v>9.2125743798345039E-2</c:v>
                </c:pt>
                <c:pt idx="25">
                  <c:v>8.6784284013421364E-2</c:v>
                </c:pt>
                <c:pt idx="26">
                  <c:v>8.8841395529762085E-2</c:v>
                </c:pt>
                <c:pt idx="27">
                  <c:v>6.9600646508182373E-2</c:v>
                </c:pt>
                <c:pt idx="28">
                  <c:v>6.3353874207544431E-2</c:v>
                </c:pt>
                <c:pt idx="29">
                  <c:v>0.12973915903604552</c:v>
                </c:pt>
                <c:pt idx="30">
                  <c:v>0.2159361316289973</c:v>
                </c:pt>
                <c:pt idx="31">
                  <c:v>0.27208236677884146</c:v>
                </c:pt>
                <c:pt idx="32">
                  <c:v>0.30979857654136561</c:v>
                </c:pt>
                <c:pt idx="33">
                  <c:v>0.30674374178675495</c:v>
                </c:pt>
                <c:pt idx="34">
                  <c:v>0.29159679750239331</c:v>
                </c:pt>
                <c:pt idx="35">
                  <c:v>0.279820573757217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37</c:f>
              <c:numCache>
                <c:formatCode>0.0%</c:formatCode>
                <c:ptCount val="36"/>
                <c:pt idx="0">
                  <c:v>9.3559047410884832E-2</c:v>
                </c:pt>
                <c:pt idx="1">
                  <c:v>0.12801426144012842</c:v>
                </c:pt>
                <c:pt idx="2">
                  <c:v>0.14425418067864776</c:v>
                </c:pt>
                <c:pt idx="3">
                  <c:v>0.14579174898369748</c:v>
                </c:pt>
                <c:pt idx="4">
                  <c:v>0.13008300778828302</c:v>
                </c:pt>
                <c:pt idx="5">
                  <c:v>0.11536471153734335</c:v>
                </c:pt>
                <c:pt idx="6">
                  <c:v>0.10139126031289353</c:v>
                </c:pt>
                <c:pt idx="7">
                  <c:v>8.7840156050623938E-2</c:v>
                </c:pt>
                <c:pt idx="8">
                  <c:v>7.1135162166023724E-2</c:v>
                </c:pt>
                <c:pt idx="9">
                  <c:v>4.9449880937896512E-2</c:v>
                </c:pt>
                <c:pt idx="10">
                  <c:v>3.743260192141093E-2</c:v>
                </c:pt>
                <c:pt idx="11">
                  <c:v>2.8223963227264646E-2</c:v>
                </c:pt>
                <c:pt idx="12">
                  <c:v>2.248625631772334E-2</c:v>
                </c:pt>
                <c:pt idx="13">
                  <c:v>1.8288642888909731E-2</c:v>
                </c:pt>
                <c:pt idx="14">
                  <c:v>1.8108701292326678E-2</c:v>
                </c:pt>
                <c:pt idx="15">
                  <c:v>1.9730225846128539E-2</c:v>
                </c:pt>
                <c:pt idx="16">
                  <c:v>2.1584548237717265E-2</c:v>
                </c:pt>
                <c:pt idx="17">
                  <c:v>2.3723916532905297E-2</c:v>
                </c:pt>
                <c:pt idx="18">
                  <c:v>2.98672587044315E-2</c:v>
                </c:pt>
                <c:pt idx="19">
                  <c:v>3.9531574710276525E-2</c:v>
                </c:pt>
                <c:pt idx="20">
                  <c:v>5.3657025941816851E-2</c:v>
                </c:pt>
                <c:pt idx="21">
                  <c:v>6.6257603939222393E-2</c:v>
                </c:pt>
                <c:pt idx="22">
                  <c:v>8.1321073508851024E-2</c:v>
                </c:pt>
                <c:pt idx="23">
                  <c:v>0.11097233988663459</c:v>
                </c:pt>
                <c:pt idx="24">
                  <c:v>0.14325572615152277</c:v>
                </c:pt>
                <c:pt idx="25">
                  <c:v>0.21244832749521234</c:v>
                </c:pt>
                <c:pt idx="26">
                  <c:v>0.3093733501214152</c:v>
                </c:pt>
                <c:pt idx="27">
                  <c:v>0.39403994854013519</c:v>
                </c:pt>
                <c:pt idx="28">
                  <c:v>0.38392022779494056</c:v>
                </c:pt>
                <c:pt idx="29">
                  <c:v>0.37477358624157192</c:v>
                </c:pt>
                <c:pt idx="30">
                  <c:v>0.34554939924327033</c:v>
                </c:pt>
                <c:pt idx="31">
                  <c:v>0.2849118238132155</c:v>
                </c:pt>
                <c:pt idx="32">
                  <c:v>0.24124774235403892</c:v>
                </c:pt>
                <c:pt idx="33">
                  <c:v>0.18965729745428986</c:v>
                </c:pt>
                <c:pt idx="34">
                  <c:v>0.16286415492011402</c:v>
                </c:pt>
                <c:pt idx="35">
                  <c:v>0.154057864663637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I$2:$I$37</c:f>
              <c:numCache>
                <c:formatCode>General</c:formatCode>
                <c:ptCount val="36"/>
                <c:pt idx="0">
                  <c:v>0.37318484626520076</c:v>
                </c:pt>
                <c:pt idx="1">
                  <c:v>0.26036152065014007</c:v>
                </c:pt>
                <c:pt idx="2">
                  <c:v>0.14753819503507937</c:v>
                </c:pt>
                <c:pt idx="3">
                  <c:v>0.15621691239008403</c:v>
                </c:pt>
                <c:pt idx="4">
                  <c:v>0.2777189553601494</c:v>
                </c:pt>
                <c:pt idx="5">
                  <c:v>0.3818635636202054</c:v>
                </c:pt>
                <c:pt idx="6">
                  <c:v>0.3905422809752101</c:v>
                </c:pt>
                <c:pt idx="7">
                  <c:v>0.5467591933652941</c:v>
                </c:pt>
                <c:pt idx="8">
                  <c:v>0.63354636691534083</c:v>
                </c:pt>
                <c:pt idx="9">
                  <c:v>0.62486764956033614</c:v>
                </c:pt>
                <c:pt idx="10">
                  <c:v>0.76372712724041081</c:v>
                </c:pt>
                <c:pt idx="11">
                  <c:v>0.75504840988540622</c:v>
                </c:pt>
                <c:pt idx="12">
                  <c:v>0.80712071401543428</c:v>
                </c:pt>
                <c:pt idx="13">
                  <c:v>0.95465890905051365</c:v>
                </c:pt>
                <c:pt idx="14">
                  <c:v>1.0240886478905511</c:v>
                </c:pt>
                <c:pt idx="15">
                  <c:v>1.3278437553157143</c:v>
                </c:pt>
                <c:pt idx="16">
                  <c:v>1.7270647536459289</c:v>
                </c:pt>
                <c:pt idx="17">
                  <c:v>2.2304303602362001</c:v>
                </c:pt>
                <c:pt idx="18">
                  <c:v>2.6209726412114103</c:v>
                </c:pt>
                <c:pt idx="19">
                  <c:v>3.0288723568966294</c:v>
                </c:pt>
                <c:pt idx="20">
                  <c:v>3.9574951138821293</c:v>
                </c:pt>
                <c:pt idx="21">
                  <c:v>4.8340455667376006</c:v>
                </c:pt>
                <c:pt idx="22">
                  <c:v>5.6151301286880209</c:v>
                </c:pt>
                <c:pt idx="23">
                  <c:v>5.7279534543030817</c:v>
                </c:pt>
                <c:pt idx="24">
                  <c:v>4.8600817188026149</c:v>
                </c:pt>
                <c:pt idx="25">
                  <c:v>4.0616397221421847</c:v>
                </c:pt>
                <c:pt idx="26">
                  <c:v>3.2371615734167416</c:v>
                </c:pt>
                <c:pt idx="27">
                  <c:v>2.4734344461763307</c:v>
                </c:pt>
                <c:pt idx="28">
                  <c:v>2.334574968496256</c:v>
                </c:pt>
                <c:pt idx="29">
                  <c:v>2.7337959668264706</c:v>
                </c:pt>
                <c:pt idx="30">
                  <c:v>3.5322379634869003</c:v>
                </c:pt>
                <c:pt idx="31">
                  <c:v>4.6083989155074798</c:v>
                </c:pt>
                <c:pt idx="32">
                  <c:v>5.3894834774578992</c:v>
                </c:pt>
                <c:pt idx="33">
                  <c:v>5.1204432394527544</c:v>
                </c:pt>
                <c:pt idx="34">
                  <c:v>3.7231697452970027</c:v>
                </c:pt>
                <c:pt idx="35">
                  <c:v>2.24778779494620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C$2:$C$37</c:f>
              <c:numCache>
                <c:formatCode>General</c:formatCode>
                <c:ptCount val="36"/>
                <c:pt idx="0">
                  <c:v>0.16831964349151421</c:v>
                </c:pt>
                <c:pt idx="1">
                  <c:v>9.3510913050841235E-2</c:v>
                </c:pt>
                <c:pt idx="2">
                  <c:v>5.6106547830504741E-2</c:v>
                </c:pt>
                <c:pt idx="3">
                  <c:v>5.6106547830504741E-2</c:v>
                </c:pt>
                <c:pt idx="4">
                  <c:v>6.5457639135588858E-2</c:v>
                </c:pt>
                <c:pt idx="5">
                  <c:v>7.4808730440672988E-2</c:v>
                </c:pt>
                <c:pt idx="6">
                  <c:v>8.4159821745757105E-2</c:v>
                </c:pt>
                <c:pt idx="7">
                  <c:v>0.13091527827117772</c:v>
                </c:pt>
                <c:pt idx="8">
                  <c:v>0.15896855218643008</c:v>
                </c:pt>
                <c:pt idx="9">
                  <c:v>9.3510913050841235E-2</c:v>
                </c:pt>
                <c:pt idx="10">
                  <c:v>7.4808730440672988E-2</c:v>
                </c:pt>
                <c:pt idx="11">
                  <c:v>0.19637291740676657</c:v>
                </c:pt>
                <c:pt idx="12">
                  <c:v>0.26183055654235543</c:v>
                </c:pt>
                <c:pt idx="13">
                  <c:v>0.26183055654235543</c:v>
                </c:pt>
                <c:pt idx="14">
                  <c:v>0.3833947435084491</c:v>
                </c:pt>
                <c:pt idx="15">
                  <c:v>0.73873621310164572</c:v>
                </c:pt>
                <c:pt idx="16">
                  <c:v>1.3091527827117773</c:v>
                </c:pt>
                <c:pt idx="17">
                  <c:v>2.3471239175761149</c:v>
                </c:pt>
                <c:pt idx="18">
                  <c:v>4.3856618220844537</c:v>
                </c:pt>
                <c:pt idx="19">
                  <c:v>7.1629359396944379</c:v>
                </c:pt>
                <c:pt idx="20">
                  <c:v>10.735052818236573</c:v>
                </c:pt>
                <c:pt idx="21">
                  <c:v>13.58713566628723</c:v>
                </c:pt>
                <c:pt idx="22">
                  <c:v>14.961746088134598</c:v>
                </c:pt>
                <c:pt idx="23">
                  <c:v>15.382545196863381</c:v>
                </c:pt>
                <c:pt idx="24">
                  <c:v>14.279116422863456</c:v>
                </c:pt>
                <c:pt idx="25">
                  <c:v>11.726268496575489</c:v>
                </c:pt>
                <c:pt idx="26">
                  <c:v>8.8461323746095797</c:v>
                </c:pt>
                <c:pt idx="27">
                  <c:v>6.8917542918469996</c:v>
                </c:pt>
                <c:pt idx="28">
                  <c:v>5.3394731352030336</c:v>
                </c:pt>
                <c:pt idx="29">
                  <c:v>3.7497876133387331</c:v>
                </c:pt>
                <c:pt idx="30">
                  <c:v>3.0017003089320031</c:v>
                </c:pt>
                <c:pt idx="31">
                  <c:v>4.3482574568641175</c:v>
                </c:pt>
                <c:pt idx="32">
                  <c:v>6.4896573657283811</c:v>
                </c:pt>
                <c:pt idx="33">
                  <c:v>7.0507228440334284</c:v>
                </c:pt>
                <c:pt idx="34">
                  <c:v>6.5644660961690544</c:v>
                </c:pt>
                <c:pt idx="35">
                  <c:v>5.6293569656606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D$2:$D$37</c:f>
              <c:numCache>
                <c:formatCode>General</c:formatCode>
                <c:ptCount val="36"/>
                <c:pt idx="0">
                  <c:v>0.68775774575649018</c:v>
                </c:pt>
                <c:pt idx="1">
                  <c:v>0.55555377303008058</c:v>
                </c:pt>
                <c:pt idx="2">
                  <c:v>0.42929155188688051</c:v>
                </c:pt>
                <c:pt idx="3">
                  <c:v>0.40255366976243806</c:v>
                </c:pt>
                <c:pt idx="4">
                  <c:v>0.65804898784044297</c:v>
                </c:pt>
                <c:pt idx="5">
                  <c:v>0.97593269754214695</c:v>
                </c:pt>
                <c:pt idx="6">
                  <c:v>1.2522241461613848</c:v>
                </c:pt>
                <c:pt idx="7">
                  <c:v>1.9637488982507125</c:v>
                </c:pt>
                <c:pt idx="8">
                  <c:v>2.3737297574921628</c:v>
                </c:pt>
                <c:pt idx="9">
                  <c:v>2.1791373931420543</c:v>
                </c:pt>
                <c:pt idx="10">
                  <c:v>1.986030466687748</c:v>
                </c:pt>
                <c:pt idx="11">
                  <c:v>1.6904283254230794</c:v>
                </c:pt>
                <c:pt idx="12">
                  <c:v>1.382942680991992</c:v>
                </c:pt>
                <c:pt idx="13">
                  <c:v>1.1363599902888013</c:v>
                </c:pt>
                <c:pt idx="14">
                  <c:v>0.88680642379400565</c:v>
                </c:pt>
                <c:pt idx="15">
                  <c:v>0.68775774575649018</c:v>
                </c:pt>
                <c:pt idx="16">
                  <c:v>0.61497128886217478</c:v>
                </c:pt>
                <c:pt idx="17">
                  <c:v>0.61645672675797714</c:v>
                </c:pt>
                <c:pt idx="18">
                  <c:v>0.67290336679846663</c:v>
                </c:pt>
                <c:pt idx="19">
                  <c:v>0.7397480721095725</c:v>
                </c:pt>
                <c:pt idx="20">
                  <c:v>0.87640835852338905</c:v>
                </c:pt>
                <c:pt idx="21">
                  <c:v>1.2046901334957094</c:v>
                </c:pt>
                <c:pt idx="22">
                  <c:v>1.6815156980482653</c:v>
                </c:pt>
                <c:pt idx="23">
                  <c:v>2.3514481890551271</c:v>
                </c:pt>
                <c:pt idx="24">
                  <c:v>2.9827592947711281</c:v>
                </c:pt>
                <c:pt idx="25">
                  <c:v>3.3793712129503568</c:v>
                </c:pt>
                <c:pt idx="26">
                  <c:v>3.8056918890456322</c:v>
                </c:pt>
                <c:pt idx="27">
                  <c:v>4.3330223420554681</c:v>
                </c:pt>
                <c:pt idx="28">
                  <c:v>4.6672458686109977</c:v>
                </c:pt>
                <c:pt idx="29">
                  <c:v>4.9999839572707252</c:v>
                </c:pt>
                <c:pt idx="30">
                  <c:v>5.7219067746306695</c:v>
                </c:pt>
                <c:pt idx="31">
                  <c:v>6.2477517897447035</c:v>
                </c:pt>
                <c:pt idx="32">
                  <c:v>6.3457906908676591</c:v>
                </c:pt>
                <c:pt idx="33">
                  <c:v>5.9432370211052206</c:v>
                </c:pt>
                <c:pt idx="34">
                  <c:v>4.9435373172302359</c:v>
                </c:pt>
                <c:pt idx="35">
                  <c:v>3.9185851691266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F$2:$F$37</c:f>
              <c:numCache>
                <c:formatCode>General</c:formatCode>
                <c:ptCount val="36"/>
                <c:pt idx="0">
                  <c:v>0.63546368930298991</c:v>
                </c:pt>
                <c:pt idx="1">
                  <c:v>0.5080356144031819</c:v>
                </c:pt>
                <c:pt idx="2">
                  <c:v>0.36551737273892293</c:v>
                </c:pt>
                <c:pt idx="3">
                  <c:v>0.2917432241127183</c:v>
                </c:pt>
                <c:pt idx="4">
                  <c:v>0.33198366881792085</c:v>
                </c:pt>
                <c:pt idx="5">
                  <c:v>0.45438168812957846</c:v>
                </c:pt>
                <c:pt idx="6">
                  <c:v>0.61534346695038855</c:v>
                </c:pt>
                <c:pt idx="7">
                  <c:v>0.89031983910260593</c:v>
                </c:pt>
                <c:pt idx="8">
                  <c:v>1.1082889145891197</c:v>
                </c:pt>
                <c:pt idx="9">
                  <c:v>1.2809874897822804</c:v>
                </c:pt>
                <c:pt idx="10">
                  <c:v>1.384941971937387</c:v>
                </c:pt>
                <c:pt idx="11">
                  <c:v>1.3329647308598336</c:v>
                </c:pt>
                <c:pt idx="12">
                  <c:v>1.304461082526982</c:v>
                </c:pt>
                <c:pt idx="13">
                  <c:v>1.2088900263521258</c:v>
                </c:pt>
                <c:pt idx="14">
                  <c:v>1.0127178584142638</c:v>
                </c:pt>
                <c:pt idx="15">
                  <c:v>0.85510944998555372</c:v>
                </c:pt>
                <c:pt idx="16">
                  <c:v>0.88025972792630525</c:v>
                </c:pt>
                <c:pt idx="17">
                  <c:v>0.93726702459200895</c:v>
                </c:pt>
                <c:pt idx="18">
                  <c:v>0.93726702459200895</c:v>
                </c:pt>
                <c:pt idx="19">
                  <c:v>1.1317625073338209</c:v>
                </c:pt>
                <c:pt idx="20">
                  <c:v>1.3279346752716834</c:v>
                </c:pt>
                <c:pt idx="21">
                  <c:v>1.5073399912490446</c:v>
                </c:pt>
                <c:pt idx="22">
                  <c:v>1.7068655295790069</c:v>
                </c:pt>
                <c:pt idx="23">
                  <c:v>1.9399247718299719</c:v>
                </c:pt>
                <c:pt idx="24">
                  <c:v>2.4244867934884522</c:v>
                </c:pt>
                <c:pt idx="25">
                  <c:v>2.9844996489691873</c:v>
                </c:pt>
                <c:pt idx="26">
                  <c:v>3.3617538180804609</c:v>
                </c:pt>
                <c:pt idx="27">
                  <c:v>4.0693149708136058</c:v>
                </c:pt>
                <c:pt idx="28">
                  <c:v>5.7979774079412634</c:v>
                </c:pt>
                <c:pt idx="29">
                  <c:v>7.5199331042847222</c:v>
                </c:pt>
                <c:pt idx="30">
                  <c:v>8.4588768140727808</c:v>
                </c:pt>
                <c:pt idx="31">
                  <c:v>8.7992439088709524</c:v>
                </c:pt>
                <c:pt idx="32">
                  <c:v>8.1587501639798123</c:v>
                </c:pt>
                <c:pt idx="33">
                  <c:v>7.0722581569393439</c:v>
                </c:pt>
                <c:pt idx="34">
                  <c:v>5.9438490199976224</c:v>
                </c:pt>
                <c:pt idx="35">
                  <c:v>4.8590336981532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K$2:$K$37</c:f>
              <c:numCache>
                <c:formatCode>General</c:formatCode>
                <c:ptCount val="36"/>
                <c:pt idx="0">
                  <c:v>0.32754915642785537</c:v>
                </c:pt>
                <c:pt idx="1">
                  <c:v>0.18424640049066862</c:v>
                </c:pt>
                <c:pt idx="2">
                  <c:v>0.18424640049066862</c:v>
                </c:pt>
                <c:pt idx="3">
                  <c:v>9.2123200245334311E-2</c:v>
                </c:pt>
                <c:pt idx="4">
                  <c:v>7.1651377968593361E-2</c:v>
                </c:pt>
                <c:pt idx="5">
                  <c:v>0.12283093366044574</c:v>
                </c:pt>
                <c:pt idx="6">
                  <c:v>0.11259502252207527</c:v>
                </c:pt>
                <c:pt idx="7">
                  <c:v>0.17401048935229815</c:v>
                </c:pt>
                <c:pt idx="8">
                  <c:v>0.20471822276740961</c:v>
                </c:pt>
                <c:pt idx="9">
                  <c:v>0.22519004504415055</c:v>
                </c:pt>
                <c:pt idx="10">
                  <c:v>0.4810878235034125</c:v>
                </c:pt>
                <c:pt idx="11">
                  <c:v>0.73698560196267449</c:v>
                </c:pt>
                <c:pt idx="12">
                  <c:v>0.87005244676149074</c:v>
                </c:pt>
                <c:pt idx="13">
                  <c:v>1.1771297809126051</c:v>
                </c:pt>
                <c:pt idx="14">
                  <c:v>1.3716120925416444</c:v>
                </c:pt>
                <c:pt idx="15">
                  <c:v>1.8731717383217978</c:v>
                </c:pt>
                <c:pt idx="16">
                  <c:v>3.3471429422471473</c:v>
                </c:pt>
                <c:pt idx="17">
                  <c:v>6.1415466830222885</c:v>
                </c:pt>
                <c:pt idx="18">
                  <c:v>10.696527139597151</c:v>
                </c:pt>
                <c:pt idx="19">
                  <c:v>15.620000397153353</c:v>
                </c:pt>
                <c:pt idx="20">
                  <c:v>19.110446095337686</c:v>
                </c:pt>
                <c:pt idx="21">
                  <c:v>22.785138194012688</c:v>
                </c:pt>
                <c:pt idx="22">
                  <c:v>26.214168425366797</c:v>
                </c:pt>
                <c:pt idx="23">
                  <c:v>26.162988869674948</c:v>
                </c:pt>
                <c:pt idx="24">
                  <c:v>22.836317749704538</c:v>
                </c:pt>
                <c:pt idx="25">
                  <c:v>18.926199694847018</c:v>
                </c:pt>
                <c:pt idx="26">
                  <c:v>15.057025284542975</c:v>
                </c:pt>
                <c:pt idx="27">
                  <c:v>11.535871852943531</c:v>
                </c:pt>
                <c:pt idx="28">
                  <c:v>9.4682178029926938</c:v>
                </c:pt>
                <c:pt idx="29">
                  <c:v>8.2194366441114948</c:v>
                </c:pt>
                <c:pt idx="30">
                  <c:v>8.5776935339544629</c:v>
                </c:pt>
                <c:pt idx="31">
                  <c:v>10.768178517565744</c:v>
                </c:pt>
                <c:pt idx="32">
                  <c:v>12.887012123208436</c:v>
                </c:pt>
                <c:pt idx="33">
                  <c:v>13.409043591265329</c:v>
                </c:pt>
                <c:pt idx="34">
                  <c:v>12.538991144503838</c:v>
                </c:pt>
                <c:pt idx="35">
                  <c:v>10.0721365601565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E$2:$E$37</c:f>
              <c:numCache>
                <c:formatCode>General</c:formatCode>
                <c:ptCount val="36"/>
                <c:pt idx="0">
                  <c:v>0.28136257546604193</c:v>
                </c:pt>
                <c:pt idx="1">
                  <c:v>0.18877745447935293</c:v>
                </c:pt>
                <c:pt idx="2">
                  <c:v>0.14188369190167927</c:v>
                </c:pt>
                <c:pt idx="3">
                  <c:v>0.13947888356436267</c:v>
                </c:pt>
                <c:pt idx="4">
                  <c:v>0.128657246046438</c:v>
                </c:pt>
                <c:pt idx="5">
                  <c:v>0.128657246046438</c:v>
                </c:pt>
                <c:pt idx="6">
                  <c:v>0.16352696693752863</c:v>
                </c:pt>
                <c:pt idx="7">
                  <c:v>0.24649285457495126</c:v>
                </c:pt>
                <c:pt idx="8">
                  <c:v>0.34869720891090666</c:v>
                </c:pt>
                <c:pt idx="9">
                  <c:v>0.51823619669172682</c:v>
                </c:pt>
                <c:pt idx="10">
                  <c:v>0.71783528868900448</c:v>
                </c:pt>
                <c:pt idx="11">
                  <c:v>0.91623197651762378</c:v>
                </c:pt>
                <c:pt idx="12">
                  <c:v>1.0184363308535793</c:v>
                </c:pt>
                <c:pt idx="13">
                  <c:v>0.96192333492663917</c:v>
                </c:pt>
                <c:pt idx="14">
                  <c:v>0.94749448490273946</c:v>
                </c:pt>
                <c:pt idx="15">
                  <c:v>1.025650755865529</c:v>
                </c:pt>
                <c:pt idx="16">
                  <c:v>1.2625243770912138</c:v>
                </c:pt>
                <c:pt idx="17">
                  <c:v>1.7410812362172168</c:v>
                </c:pt>
                <c:pt idx="18">
                  <c:v>2.4577141207375628</c:v>
                </c:pt>
                <c:pt idx="19">
                  <c:v>3.3270523346775129</c:v>
                </c:pt>
                <c:pt idx="20">
                  <c:v>4.2673323945683022</c:v>
                </c:pt>
                <c:pt idx="21">
                  <c:v>5.3494961463607718</c:v>
                </c:pt>
                <c:pt idx="22">
                  <c:v>6.3474916063471598</c:v>
                </c:pt>
                <c:pt idx="23">
                  <c:v>6.5074113607787138</c:v>
                </c:pt>
                <c:pt idx="24">
                  <c:v>6.1154276017961084</c:v>
                </c:pt>
                <c:pt idx="25">
                  <c:v>5.4024019297817372</c:v>
                </c:pt>
                <c:pt idx="26">
                  <c:v>4.281761244592202</c:v>
                </c:pt>
                <c:pt idx="27">
                  <c:v>3.304206655473005</c:v>
                </c:pt>
                <c:pt idx="28">
                  <c:v>2.5394776042063274</c:v>
                </c:pt>
                <c:pt idx="29">
                  <c:v>2.0921832534654401</c:v>
                </c:pt>
                <c:pt idx="30">
                  <c:v>2.0008005366474091</c:v>
                </c:pt>
                <c:pt idx="31">
                  <c:v>2.1859707786207871</c:v>
                </c:pt>
                <c:pt idx="32">
                  <c:v>2.5418824125436439</c:v>
                </c:pt>
                <c:pt idx="33">
                  <c:v>2.8773531755993091</c:v>
                </c:pt>
                <c:pt idx="34">
                  <c:v>2.7883752671185951</c:v>
                </c:pt>
                <c:pt idx="35">
                  <c:v>2.1210409535132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G$2:$G$37</c:f>
              <c:numCache>
                <c:formatCode>General</c:formatCode>
                <c:ptCount val="36"/>
                <c:pt idx="0">
                  <c:v>9.1913955899109501E-2</c:v>
                </c:pt>
                <c:pt idx="1">
                  <c:v>0.1034032003864982</c:v>
                </c:pt>
                <c:pt idx="2">
                  <c:v>0.14936017833605295</c:v>
                </c:pt>
                <c:pt idx="3">
                  <c:v>0.24701875647885677</c:v>
                </c:pt>
                <c:pt idx="4">
                  <c:v>0.35042195686535493</c:v>
                </c:pt>
                <c:pt idx="5">
                  <c:v>0.47680364622663046</c:v>
                </c:pt>
                <c:pt idx="6">
                  <c:v>0.53424986866357393</c:v>
                </c:pt>
                <c:pt idx="7">
                  <c:v>0.46531440173924177</c:v>
                </c:pt>
                <c:pt idx="8">
                  <c:v>0.49978213520140785</c:v>
                </c:pt>
                <c:pt idx="9">
                  <c:v>0.51127137968879655</c:v>
                </c:pt>
                <c:pt idx="10">
                  <c:v>0.45382515725185313</c:v>
                </c:pt>
                <c:pt idx="11">
                  <c:v>0.47105902398293614</c:v>
                </c:pt>
                <c:pt idx="12">
                  <c:v>0.367655823596438</c:v>
                </c:pt>
                <c:pt idx="13">
                  <c:v>0.29297573442841152</c:v>
                </c:pt>
                <c:pt idx="14">
                  <c:v>0.29872035667210589</c:v>
                </c:pt>
                <c:pt idx="15">
                  <c:v>0.40212355705860409</c:v>
                </c:pt>
                <c:pt idx="16">
                  <c:v>0.74105626943657033</c:v>
                </c:pt>
                <c:pt idx="17">
                  <c:v>1.252327649125367</c:v>
                </c:pt>
                <c:pt idx="18">
                  <c:v>1.7463651620830807</c:v>
                </c:pt>
                <c:pt idx="19">
                  <c:v>2.0910424967047412</c:v>
                </c:pt>
                <c:pt idx="20">
                  <c:v>2.9814589444773643</c:v>
                </c:pt>
                <c:pt idx="21">
                  <c:v>4.222297349115343</c:v>
                </c:pt>
                <c:pt idx="22">
                  <c:v>4.7967595734847768</c:v>
                </c:pt>
                <c:pt idx="23">
                  <c:v>4.8369719291906375</c:v>
                </c:pt>
                <c:pt idx="24">
                  <c:v>4.1361280154599269</c:v>
                </c:pt>
                <c:pt idx="25">
                  <c:v>2.7918864104354508</c:v>
                </c:pt>
                <c:pt idx="26">
                  <c:v>1.8382791179821898</c:v>
                </c:pt>
                <c:pt idx="27">
                  <c:v>1.2465830268816727</c:v>
                </c:pt>
                <c:pt idx="28">
                  <c:v>0.8387148475793742</c:v>
                </c:pt>
                <c:pt idx="29">
                  <c:v>0.64914231353746077</c:v>
                </c:pt>
                <c:pt idx="30">
                  <c:v>0.57446222436943439</c:v>
                </c:pt>
                <c:pt idx="31">
                  <c:v>0.61467458007529485</c:v>
                </c:pt>
                <c:pt idx="32">
                  <c:v>0.74680089168026464</c:v>
                </c:pt>
                <c:pt idx="33">
                  <c:v>0.94211804796587229</c:v>
                </c:pt>
                <c:pt idx="34">
                  <c:v>0.79850249187351374</c:v>
                </c:pt>
                <c:pt idx="35">
                  <c:v>0.580206846613128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J$2:$J$37</c:f>
              <c:numCache>
                <c:formatCode>General</c:formatCode>
                <c:ptCount val="36"/>
                <c:pt idx="0">
                  <c:v>0.68233062433146752</c:v>
                </c:pt>
                <c:pt idx="1">
                  <c:v>0.48737901737961964</c:v>
                </c:pt>
                <c:pt idx="2">
                  <c:v>0.35302047745334614</c:v>
                </c:pt>
                <c:pt idx="3">
                  <c:v>0.21602745635204759</c:v>
                </c:pt>
                <c:pt idx="4">
                  <c:v>0.12908957757622355</c:v>
                </c:pt>
                <c:pt idx="5">
                  <c:v>0.12645509640119862</c:v>
                </c:pt>
                <c:pt idx="6">
                  <c:v>0.11328269052607376</c:v>
                </c:pt>
                <c:pt idx="7">
                  <c:v>8.9572359950849015E-2</c:v>
                </c:pt>
                <c:pt idx="8">
                  <c:v>0.1080137281760238</c:v>
                </c:pt>
                <c:pt idx="9">
                  <c:v>0.16070335167652322</c:v>
                </c:pt>
                <c:pt idx="10">
                  <c:v>0.21866193752707258</c:v>
                </c:pt>
                <c:pt idx="11">
                  <c:v>0.28452396690269688</c:v>
                </c:pt>
                <c:pt idx="12">
                  <c:v>0.38463425155364572</c:v>
                </c:pt>
                <c:pt idx="13">
                  <c:v>0.545337603230169</c:v>
                </c:pt>
                <c:pt idx="14">
                  <c:v>0.78244090898241636</c:v>
                </c:pt>
                <c:pt idx="15">
                  <c:v>1.1064820935104878</c:v>
                </c:pt>
                <c:pt idx="16">
                  <c:v>1.5227301191644331</c:v>
                </c:pt>
                <c:pt idx="17">
                  <c:v>2.3657640951724237</c:v>
                </c:pt>
                <c:pt idx="18">
                  <c:v>3.4643427451578366</c:v>
                </c:pt>
                <c:pt idx="19">
                  <c:v>4.9185763537716207</c:v>
                </c:pt>
                <c:pt idx="20">
                  <c:v>8.1431813120021843</c:v>
                </c:pt>
                <c:pt idx="21">
                  <c:v>11.062186453929852</c:v>
                </c:pt>
                <c:pt idx="22">
                  <c:v>12.829923322371609</c:v>
                </c:pt>
                <c:pt idx="23">
                  <c:v>14.365825847411168</c:v>
                </c:pt>
                <c:pt idx="24">
                  <c:v>15.319508032770205</c:v>
                </c:pt>
                <c:pt idx="25">
                  <c:v>15.398542468020954</c:v>
                </c:pt>
                <c:pt idx="26">
                  <c:v>16.083507573527449</c:v>
                </c:pt>
                <c:pt idx="27">
                  <c:v>14.294694855685492</c:v>
                </c:pt>
                <c:pt idx="28">
                  <c:v>12.445289070817962</c:v>
                </c:pt>
                <c:pt idx="29">
                  <c:v>10.804007298777405</c:v>
                </c:pt>
                <c:pt idx="30">
                  <c:v>7.518809273521267</c:v>
                </c:pt>
                <c:pt idx="31">
                  <c:v>7.1868646454681206</c:v>
                </c:pt>
                <c:pt idx="32">
                  <c:v>7.7480091357484397</c:v>
                </c:pt>
                <c:pt idx="33">
                  <c:v>8.4988362706305569</c:v>
                </c:pt>
                <c:pt idx="34">
                  <c:v>8.4224363165548315</c:v>
                </c:pt>
                <c:pt idx="35">
                  <c:v>7.18949912664314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0.23592685099219599</c:v>
                </c:pt>
                <c:pt idx="1">
                  <c:v>0.12358073147210266</c:v>
                </c:pt>
                <c:pt idx="2">
                  <c:v>6.7407671712056E-2</c:v>
                </c:pt>
                <c:pt idx="3">
                  <c:v>0.10111150756808399</c:v>
                </c:pt>
                <c:pt idx="4">
                  <c:v>0.10111150756808399</c:v>
                </c:pt>
                <c:pt idx="5">
                  <c:v>0.14604995537612134</c:v>
                </c:pt>
                <c:pt idx="6">
                  <c:v>0.19098840318415863</c:v>
                </c:pt>
                <c:pt idx="7">
                  <c:v>0.16851917928013999</c:v>
                </c:pt>
                <c:pt idx="8">
                  <c:v>0.38197680636831727</c:v>
                </c:pt>
                <c:pt idx="9">
                  <c:v>0.71901516492859729</c:v>
                </c:pt>
                <c:pt idx="10">
                  <c:v>0.84259589640069998</c:v>
                </c:pt>
                <c:pt idx="11">
                  <c:v>1.145930419104952</c:v>
                </c:pt>
                <c:pt idx="12">
                  <c:v>1.4717341657132226</c:v>
                </c:pt>
                <c:pt idx="13">
                  <c:v>1.3818572700971479</c:v>
                </c:pt>
                <c:pt idx="14">
                  <c:v>1.3144495983850919</c:v>
                </c:pt>
                <c:pt idx="15">
                  <c:v>1.550376449377288</c:v>
                </c:pt>
                <c:pt idx="16">
                  <c:v>1.6851917928014</c:v>
                </c:pt>
                <c:pt idx="17">
                  <c:v>1.8424763601295304</c:v>
                </c:pt>
                <c:pt idx="18">
                  <c:v>2.6963068684822398</c:v>
                </c:pt>
                <c:pt idx="19">
                  <c:v>4.6511293481318638</c:v>
                </c:pt>
                <c:pt idx="20">
                  <c:v>6.4149634245973282</c:v>
                </c:pt>
                <c:pt idx="21">
                  <c:v>7.8192899185984963</c:v>
                </c:pt>
                <c:pt idx="22">
                  <c:v>8.628181979143168</c:v>
                </c:pt>
                <c:pt idx="23">
                  <c:v>7.6395361273663465</c:v>
                </c:pt>
                <c:pt idx="24">
                  <c:v>5.7858251552848063</c:v>
                </c:pt>
                <c:pt idx="25">
                  <c:v>3.6063104365949963</c:v>
                </c:pt>
                <c:pt idx="26">
                  <c:v>2.3143300621139229</c:v>
                </c:pt>
                <c:pt idx="27">
                  <c:v>1.8537109720815399</c:v>
                </c:pt>
                <c:pt idx="28">
                  <c:v>1.4267957179051851</c:v>
                </c:pt>
                <c:pt idx="29">
                  <c:v>1.3818572700971479</c:v>
                </c:pt>
                <c:pt idx="30">
                  <c:v>1.7301302406094374</c:v>
                </c:pt>
                <c:pt idx="31">
                  <c:v>2.3143300621139229</c:v>
                </c:pt>
                <c:pt idx="32">
                  <c:v>2.9659375553304641</c:v>
                </c:pt>
                <c:pt idx="33">
                  <c:v>3.4827297051228934</c:v>
                </c:pt>
                <c:pt idx="34">
                  <c:v>3.9096449592992482</c:v>
                </c:pt>
                <c:pt idx="35">
                  <c:v>3.96581801905929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L$2:$L$37</c:f>
              <c:numCache>
                <c:formatCode>General</c:formatCode>
                <c:ptCount val="36"/>
                <c:pt idx="0">
                  <c:v>0.31147665033612915</c:v>
                </c:pt>
                <c:pt idx="1">
                  <c:v>0.21986587082550288</c:v>
                </c:pt>
                <c:pt idx="2">
                  <c:v>0.25651018262975339</c:v>
                </c:pt>
                <c:pt idx="3">
                  <c:v>0.23818802672762815</c:v>
                </c:pt>
                <c:pt idx="4">
                  <c:v>0.23818802672762815</c:v>
                </c:pt>
                <c:pt idx="5">
                  <c:v>0.1282550913148767</c:v>
                </c:pt>
                <c:pt idx="6">
                  <c:v>7.3288623608500969E-2</c:v>
                </c:pt>
                <c:pt idx="7">
                  <c:v>0.10993293541275144</c:v>
                </c:pt>
                <c:pt idx="8">
                  <c:v>7.3288623608500969E-2</c:v>
                </c:pt>
                <c:pt idx="9">
                  <c:v>7.3288623608500969E-2</c:v>
                </c:pt>
                <c:pt idx="10">
                  <c:v>0.21986587082550288</c:v>
                </c:pt>
                <c:pt idx="11">
                  <c:v>0.40308742984675533</c:v>
                </c:pt>
                <c:pt idx="12">
                  <c:v>0.65959761247650872</c:v>
                </c:pt>
                <c:pt idx="13">
                  <c:v>1.8871820579188998</c:v>
                </c:pt>
                <c:pt idx="14">
                  <c:v>2.5467796703954084</c:v>
                </c:pt>
                <c:pt idx="15">
                  <c:v>3.2613437505782934</c:v>
                </c:pt>
                <c:pt idx="16">
                  <c:v>3.3346323741867936</c:v>
                </c:pt>
                <c:pt idx="17">
                  <c:v>3.4995317773059207</c:v>
                </c:pt>
                <c:pt idx="18">
                  <c:v>6.4493988775480853</c:v>
                </c:pt>
                <c:pt idx="19">
                  <c:v>10.132152213875258</c:v>
                </c:pt>
                <c:pt idx="20">
                  <c:v>11.909401336381407</c:v>
                </c:pt>
                <c:pt idx="21">
                  <c:v>13.613361835279056</c:v>
                </c:pt>
                <c:pt idx="22">
                  <c:v>17.974034939984861</c:v>
                </c:pt>
                <c:pt idx="23">
                  <c:v>19.677995438882508</c:v>
                </c:pt>
                <c:pt idx="24">
                  <c:v>21.400278093682282</c:v>
                </c:pt>
                <c:pt idx="25">
                  <c:v>18.871820579188999</c:v>
                </c:pt>
                <c:pt idx="26">
                  <c:v>12.312488766228164</c:v>
                </c:pt>
                <c:pt idx="27">
                  <c:v>9.9672528107561327</c:v>
                </c:pt>
                <c:pt idx="28">
                  <c:v>11.213159412100648</c:v>
                </c:pt>
                <c:pt idx="29">
                  <c:v>12.568998948857915</c:v>
                </c:pt>
                <c:pt idx="30">
                  <c:v>8.7579905212158664</c:v>
                </c:pt>
                <c:pt idx="31">
                  <c:v>5.4600024588333218</c:v>
                </c:pt>
                <c:pt idx="32">
                  <c:v>5.0385928730844416</c:v>
                </c:pt>
                <c:pt idx="33">
                  <c:v>5.1118814966929422</c:v>
                </c:pt>
                <c:pt idx="34">
                  <c:v>6.9624192428075924</c:v>
                </c:pt>
                <c:pt idx="35">
                  <c:v>8.2816144677606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7</c:f>
              <c:numCache>
                <c:formatCode>General</c:formatCode>
                <c:ptCount val="36"/>
                <c:pt idx="0">
                  <c:v>0.42254163271016471</c:v>
                </c:pt>
                <c:pt idx="1">
                  <c:v>0.37394934494849574</c:v>
                </c:pt>
                <c:pt idx="2">
                  <c:v>0.52606433272415498</c:v>
                </c:pt>
                <c:pt idx="3">
                  <c:v>1.1197353266819365</c:v>
                </c:pt>
                <c:pt idx="4">
                  <c:v>1.9373533859761052</c:v>
                </c:pt>
                <c:pt idx="5">
                  <c:v>2.5753912513684538</c:v>
                </c:pt>
                <c:pt idx="6">
                  <c:v>3.0845539187842026</c:v>
                </c:pt>
                <c:pt idx="7">
                  <c:v>3.1479351636907271</c:v>
                </c:pt>
                <c:pt idx="8">
                  <c:v>2.7930001922141887</c:v>
                </c:pt>
                <c:pt idx="9">
                  <c:v>2.4422906370647519</c:v>
                </c:pt>
                <c:pt idx="10">
                  <c:v>2.0176362961910366</c:v>
                </c:pt>
                <c:pt idx="11">
                  <c:v>1.6267852859341341</c:v>
                </c:pt>
                <c:pt idx="12">
                  <c:v>1.2380469838407826</c:v>
                </c:pt>
                <c:pt idx="13">
                  <c:v>0.8809993042006935</c:v>
                </c:pt>
                <c:pt idx="14">
                  <c:v>0.68874286131756846</c:v>
                </c:pt>
                <c:pt idx="15">
                  <c:v>0.5767693286493748</c:v>
                </c:pt>
                <c:pt idx="16">
                  <c:v>0.5345151653783583</c:v>
                </c:pt>
                <c:pt idx="17">
                  <c:v>0.48381016945313859</c:v>
                </c:pt>
                <c:pt idx="18">
                  <c:v>0.43521788169146963</c:v>
                </c:pt>
                <c:pt idx="19">
                  <c:v>0.56620578783162068</c:v>
                </c:pt>
                <c:pt idx="20">
                  <c:v>0.67817932049981444</c:v>
                </c:pt>
                <c:pt idx="21">
                  <c:v>0.70141911029887338</c:v>
                </c:pt>
                <c:pt idx="22">
                  <c:v>0.94438054910721803</c:v>
                </c:pt>
                <c:pt idx="23">
                  <c:v>1.2591740654762908</c:v>
                </c:pt>
                <c:pt idx="24">
                  <c:v>1.6711521573687014</c:v>
                </c:pt>
                <c:pt idx="25">
                  <c:v>2.1148208717143744</c:v>
                </c:pt>
                <c:pt idx="26">
                  <c:v>2.5479260452422934</c:v>
                </c:pt>
                <c:pt idx="27">
                  <c:v>3.287373902485081</c:v>
                </c:pt>
                <c:pt idx="28">
                  <c:v>4.4472506842744837</c:v>
                </c:pt>
                <c:pt idx="29">
                  <c:v>5.569098719119971</c:v>
                </c:pt>
                <c:pt idx="30">
                  <c:v>6.3043211600356583</c:v>
                </c:pt>
                <c:pt idx="31">
                  <c:v>6.4754505212832747</c:v>
                </c:pt>
                <c:pt idx="32">
                  <c:v>5.7212137068956306</c:v>
                </c:pt>
                <c:pt idx="33">
                  <c:v>4.2887975720081721</c:v>
                </c:pt>
                <c:pt idx="34">
                  <c:v>2.7930001922141887</c:v>
                </c:pt>
                <c:pt idx="35">
                  <c:v>1.56340404102760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402A-4B81-99E3-A430AA945502}"/>
              </c:ext>
            </c:extLst>
          </c:dPt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H$2:$H$37</c:f>
              <c:numCache>
                <c:formatCode>General</c:formatCode>
                <c:ptCount val="36"/>
                <c:pt idx="0">
                  <c:v>0.42609548009228287</c:v>
                </c:pt>
                <c:pt idx="1">
                  <c:v>0.62591956730797416</c:v>
                </c:pt>
                <c:pt idx="2">
                  <c:v>0.90067768722954977</c:v>
                </c:pt>
                <c:pt idx="3">
                  <c:v>1.257716313651704</c:v>
                </c:pt>
                <c:pt idx="4">
                  <c:v>1.6279785929043082</c:v>
                </c:pt>
                <c:pt idx="5">
                  <c:v>1.7837238373518325</c:v>
                </c:pt>
                <c:pt idx="6">
                  <c:v>1.8410263329504497</c:v>
                </c:pt>
                <c:pt idx="7">
                  <c:v>2.0467275992018967</c:v>
                </c:pt>
                <c:pt idx="8">
                  <c:v>2.3141392453287777</c:v>
                </c:pt>
                <c:pt idx="9">
                  <c:v>2.5536342910358192</c:v>
                </c:pt>
                <c:pt idx="10">
                  <c:v>2.8460239480646621</c:v>
                </c:pt>
                <c:pt idx="11">
                  <c:v>2.9591596445029578</c:v>
                </c:pt>
                <c:pt idx="12">
                  <c:v>2.7637434415640829</c:v>
                </c:pt>
                <c:pt idx="13">
                  <c:v>2.4860467321246298</c:v>
                </c:pt>
                <c:pt idx="14">
                  <c:v>2.3200164243645336</c:v>
                </c:pt>
                <c:pt idx="15">
                  <c:v>2.4860467321246298</c:v>
                </c:pt>
                <c:pt idx="16">
                  <c:v>2.8342695899931507</c:v>
                </c:pt>
                <c:pt idx="17">
                  <c:v>3.2295098801477167</c:v>
                </c:pt>
                <c:pt idx="18">
                  <c:v>3.4190489040508356</c:v>
                </c:pt>
                <c:pt idx="19">
                  <c:v>3.1633916159954656</c:v>
                </c:pt>
                <c:pt idx="20">
                  <c:v>2.8680633694487456</c:v>
                </c:pt>
                <c:pt idx="21">
                  <c:v>2.671177871750932</c:v>
                </c:pt>
                <c:pt idx="22">
                  <c:v>2.5080861535087133</c:v>
                </c:pt>
                <c:pt idx="23">
                  <c:v>2.4243363522491954</c:v>
                </c:pt>
                <c:pt idx="24">
                  <c:v>2.3479330247843726</c:v>
                </c:pt>
                <c:pt idx="25">
                  <c:v>2.3582180880969448</c:v>
                </c:pt>
                <c:pt idx="28">
                  <c:v>5.1807333200185841</c:v>
                </c:pt>
                <c:pt idx="29">
                  <c:v>5.5318947674049834</c:v>
                </c:pt>
                <c:pt idx="30">
                  <c:v>4.4989805518709316</c:v>
                </c:pt>
                <c:pt idx="31">
                  <c:v>3.9494643120277808</c:v>
                </c:pt>
                <c:pt idx="32">
                  <c:v>4.0567228294303206</c:v>
                </c:pt>
                <c:pt idx="33">
                  <c:v>3.3250140394787451</c:v>
                </c:pt>
                <c:pt idx="34">
                  <c:v>2.5800815966967199</c:v>
                </c:pt>
                <c:pt idx="35">
                  <c:v>2.30091559249832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I$2:$I$37</c:f>
              <c:numCache>
                <c:formatCode>General</c:formatCode>
                <c:ptCount val="36"/>
                <c:pt idx="0">
                  <c:v>0.1735743471000934</c:v>
                </c:pt>
                <c:pt idx="1">
                  <c:v>8.6787173550046698E-2</c:v>
                </c:pt>
                <c:pt idx="2">
                  <c:v>6.0751021485032683E-2</c:v>
                </c:pt>
                <c:pt idx="3">
                  <c:v>9.5465890905051351E-2</c:v>
                </c:pt>
                <c:pt idx="4">
                  <c:v>0.18225306445509803</c:v>
                </c:pt>
                <c:pt idx="5">
                  <c:v>0.19961049916510737</c:v>
                </c:pt>
                <c:pt idx="6">
                  <c:v>0.1909317818101027</c:v>
                </c:pt>
                <c:pt idx="7">
                  <c:v>0.35582741155519143</c:v>
                </c:pt>
                <c:pt idx="8">
                  <c:v>0.2777189553601494</c:v>
                </c:pt>
                <c:pt idx="9">
                  <c:v>0.34714869420018679</c:v>
                </c:pt>
                <c:pt idx="10">
                  <c:v>0.41657843304022413</c:v>
                </c:pt>
                <c:pt idx="11">
                  <c:v>0.3384699768451821</c:v>
                </c:pt>
                <c:pt idx="12">
                  <c:v>0.46865073717025213</c:v>
                </c:pt>
                <c:pt idx="13">
                  <c:v>0.48600817188026146</c:v>
                </c:pt>
                <c:pt idx="14">
                  <c:v>0.53808047601028952</c:v>
                </c:pt>
                <c:pt idx="15">
                  <c:v>0.78976327930542489</c:v>
                </c:pt>
                <c:pt idx="16">
                  <c:v>0.93730147434050426</c:v>
                </c:pt>
                <c:pt idx="17">
                  <c:v>1.2931288858956957</c:v>
                </c:pt>
                <c:pt idx="18">
                  <c:v>1.3278437553157143</c:v>
                </c:pt>
                <c:pt idx="19">
                  <c:v>1.7010286015809153</c:v>
                </c:pt>
                <c:pt idx="20">
                  <c:v>2.256466512301214</c:v>
                </c:pt>
                <c:pt idx="21">
                  <c:v>2.5775790544363866</c:v>
                </c:pt>
                <c:pt idx="22">
                  <c:v>3.0375510742516338</c:v>
                </c:pt>
                <c:pt idx="23">
                  <c:v>2.6904023800514474</c:v>
                </c:pt>
                <c:pt idx="24">
                  <c:v>2.1696793387511675</c:v>
                </c:pt>
                <c:pt idx="25">
                  <c:v>1.8919603833910179</c:v>
                </c:pt>
                <c:pt idx="26">
                  <c:v>1.3452011900257237</c:v>
                </c:pt>
                <c:pt idx="27">
                  <c:v>1.128233256150607</c:v>
                </c:pt>
                <c:pt idx="28">
                  <c:v>1.206341712345649</c:v>
                </c:pt>
                <c:pt idx="29">
                  <c:v>1.5274542544808216</c:v>
                </c:pt>
                <c:pt idx="30">
                  <c:v>2.0047837090060785</c:v>
                </c:pt>
                <c:pt idx="31">
                  <c:v>2.6036152065014009</c:v>
                </c:pt>
                <c:pt idx="32">
                  <c:v>2.7858682709564988</c:v>
                </c:pt>
                <c:pt idx="33">
                  <c:v>2.334574968496256</c:v>
                </c:pt>
                <c:pt idx="34">
                  <c:v>1.3885947768007472</c:v>
                </c:pt>
                <c:pt idx="35">
                  <c:v>0.859193018145462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C$2:$C$37</c:f>
              <c:numCache>
                <c:formatCode>General</c:formatCode>
                <c:ptCount val="36"/>
                <c:pt idx="0">
                  <c:v>6.5457639135588858E-2</c:v>
                </c:pt>
                <c:pt idx="1">
                  <c:v>2.8053273915252371E-2</c:v>
                </c:pt>
                <c:pt idx="2">
                  <c:v>2.8053273915252371E-2</c:v>
                </c:pt>
                <c:pt idx="3">
                  <c:v>2.8053273915252371E-2</c:v>
                </c:pt>
                <c:pt idx="4">
                  <c:v>3.7404365220336494E-2</c:v>
                </c:pt>
                <c:pt idx="5">
                  <c:v>3.7404365220336494E-2</c:v>
                </c:pt>
                <c:pt idx="6">
                  <c:v>4.6755456525420618E-2</c:v>
                </c:pt>
                <c:pt idx="7">
                  <c:v>8.4159821745757105E-2</c:v>
                </c:pt>
                <c:pt idx="8">
                  <c:v>7.4808730440672988E-2</c:v>
                </c:pt>
                <c:pt idx="9">
                  <c:v>1.8702182610168247E-2</c:v>
                </c:pt>
                <c:pt idx="10">
                  <c:v>5.6106547830504741E-2</c:v>
                </c:pt>
                <c:pt idx="11">
                  <c:v>0.14026636957626185</c:v>
                </c:pt>
                <c:pt idx="12">
                  <c:v>0.1215641869660936</c:v>
                </c:pt>
                <c:pt idx="13">
                  <c:v>0.14026636957626185</c:v>
                </c:pt>
                <c:pt idx="14">
                  <c:v>0.2431283739321872</c:v>
                </c:pt>
                <c:pt idx="15">
                  <c:v>0.4956078391694585</c:v>
                </c:pt>
                <c:pt idx="16">
                  <c:v>0.81354494354231877</c:v>
                </c:pt>
                <c:pt idx="17">
                  <c:v>1.5335789740337964</c:v>
                </c:pt>
                <c:pt idx="18">
                  <c:v>2.8520828480506575</c:v>
                </c:pt>
                <c:pt idx="19">
                  <c:v>4.3108530916437804</c:v>
                </c:pt>
                <c:pt idx="20">
                  <c:v>6.4241997265927928</c:v>
                </c:pt>
                <c:pt idx="21">
                  <c:v>7.1629359396944379</c:v>
                </c:pt>
                <c:pt idx="22">
                  <c:v>7.7988101484401584</c:v>
                </c:pt>
                <c:pt idx="23">
                  <c:v>7.5837350484232235</c:v>
                </c:pt>
                <c:pt idx="24">
                  <c:v>6.6953813744402311</c:v>
                </c:pt>
                <c:pt idx="25">
                  <c:v>5.0308871221352582</c:v>
                </c:pt>
                <c:pt idx="26">
                  <c:v>3.8152452524743219</c:v>
                </c:pt>
                <c:pt idx="27">
                  <c:v>3.0765090393726764</c:v>
                </c:pt>
                <c:pt idx="28">
                  <c:v>2.2629640958303576</c:v>
                </c:pt>
                <c:pt idx="29">
                  <c:v>1.4868235175083755</c:v>
                </c:pt>
                <c:pt idx="30">
                  <c:v>1.5148767914236281</c:v>
                </c:pt>
                <c:pt idx="31">
                  <c:v>2.8333806654404889</c:v>
                </c:pt>
                <c:pt idx="32">
                  <c:v>3.6562767002878922</c:v>
                </c:pt>
                <c:pt idx="33">
                  <c:v>3.3944461437455362</c:v>
                </c:pt>
                <c:pt idx="34">
                  <c:v>3.1700199524235178</c:v>
                </c:pt>
                <c:pt idx="35">
                  <c:v>2.4593370132371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D$2:$D$37</c:f>
              <c:numCache>
                <c:formatCode>General</c:formatCode>
                <c:ptCount val="36"/>
                <c:pt idx="0">
                  <c:v>0.3104565202226921</c:v>
                </c:pt>
                <c:pt idx="1">
                  <c:v>0.24509725280738848</c:v>
                </c:pt>
                <c:pt idx="2">
                  <c:v>0.18419429907949197</c:v>
                </c:pt>
                <c:pt idx="3">
                  <c:v>0.21835937068294611</c:v>
                </c:pt>
                <c:pt idx="4">
                  <c:v>0.43968961715749694</c:v>
                </c:pt>
                <c:pt idx="5">
                  <c:v>0.53624308038464996</c:v>
                </c:pt>
                <c:pt idx="6">
                  <c:v>0.71598106577673493</c:v>
                </c:pt>
                <c:pt idx="7">
                  <c:v>1.2477678324739778</c:v>
                </c:pt>
                <c:pt idx="8">
                  <c:v>1.1259619250181847</c:v>
                </c:pt>
                <c:pt idx="9">
                  <c:v>1.0531754681238692</c:v>
                </c:pt>
                <c:pt idx="10">
                  <c:v>0.93285499856387855</c:v>
                </c:pt>
                <c:pt idx="11">
                  <c:v>0.75757332685920087</c:v>
                </c:pt>
                <c:pt idx="12">
                  <c:v>0.62536935413279127</c:v>
                </c:pt>
                <c:pt idx="13">
                  <c:v>0.51099063615600993</c:v>
                </c:pt>
                <c:pt idx="14">
                  <c:v>0.37581578763799567</c:v>
                </c:pt>
                <c:pt idx="15">
                  <c:v>0.31194195811849446</c:v>
                </c:pt>
                <c:pt idx="16">
                  <c:v>0.30302933074368033</c:v>
                </c:pt>
                <c:pt idx="17">
                  <c:v>0.31342739601429681</c:v>
                </c:pt>
                <c:pt idx="18">
                  <c:v>0.35947597078416976</c:v>
                </c:pt>
                <c:pt idx="19">
                  <c:v>0.38027210132540279</c:v>
                </c:pt>
                <c:pt idx="20">
                  <c:v>0.49613625719798643</c:v>
                </c:pt>
                <c:pt idx="21">
                  <c:v>0.70855387629772315</c:v>
                </c:pt>
                <c:pt idx="22">
                  <c:v>0.97296182175054213</c:v>
                </c:pt>
                <c:pt idx="23">
                  <c:v>1.3784863673045851</c:v>
                </c:pt>
                <c:pt idx="24">
                  <c:v>1.604272927466543</c:v>
                </c:pt>
                <c:pt idx="25">
                  <c:v>1.7750982854838135</c:v>
                </c:pt>
                <c:pt idx="26">
                  <c:v>2.0305936035618184</c:v>
                </c:pt>
                <c:pt idx="27">
                  <c:v>2.3024287384936493</c:v>
                </c:pt>
                <c:pt idx="28">
                  <c:v>2.3648171301173484</c:v>
                </c:pt>
                <c:pt idx="29">
                  <c:v>2.6351668271533768</c:v>
                </c:pt>
                <c:pt idx="30">
                  <c:v>3.0867399474772932</c:v>
                </c:pt>
                <c:pt idx="31">
                  <c:v>3.1610118422674103</c:v>
                </c:pt>
                <c:pt idx="32">
                  <c:v>3.184778848600248</c:v>
                </c:pt>
                <c:pt idx="33">
                  <c:v>2.7584581725049726</c:v>
                </c:pt>
                <c:pt idx="34">
                  <c:v>2.1850791447252633</c:v>
                </c:pt>
                <c:pt idx="35">
                  <c:v>1.7335060244013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F$2:$F$37</c:f>
              <c:numCache>
                <c:formatCode>General</c:formatCode>
                <c:ptCount val="36"/>
                <c:pt idx="0">
                  <c:v>0.29677327970086864</c:v>
                </c:pt>
                <c:pt idx="1">
                  <c:v>0.21126233470231326</c:v>
                </c:pt>
                <c:pt idx="2">
                  <c:v>0.15425503803660967</c:v>
                </c:pt>
                <c:pt idx="3">
                  <c:v>0.13748818607610863</c:v>
                </c:pt>
                <c:pt idx="4">
                  <c:v>0.19449548274181222</c:v>
                </c:pt>
                <c:pt idx="5">
                  <c:v>0.2598862053877663</c:v>
                </c:pt>
                <c:pt idx="6">
                  <c:v>0.35545726156262231</c:v>
                </c:pt>
                <c:pt idx="7">
                  <c:v>0.53486257753998356</c:v>
                </c:pt>
                <c:pt idx="8">
                  <c:v>0.57342633704913593</c:v>
                </c:pt>
                <c:pt idx="9">
                  <c:v>0.70756115273314446</c:v>
                </c:pt>
                <c:pt idx="10">
                  <c:v>0.67738081920424253</c:v>
                </c:pt>
                <c:pt idx="11">
                  <c:v>0.65558391165559116</c:v>
                </c:pt>
                <c:pt idx="12">
                  <c:v>0.64887717087139074</c:v>
                </c:pt>
                <c:pt idx="13">
                  <c:v>0.56001285548073509</c:v>
                </c:pt>
                <c:pt idx="14">
                  <c:v>0.45270500293352844</c:v>
                </c:pt>
                <c:pt idx="15">
                  <c:v>0.40240444705202522</c:v>
                </c:pt>
                <c:pt idx="16">
                  <c:v>0.47785528087427998</c:v>
                </c:pt>
                <c:pt idx="17">
                  <c:v>0.45941174371772886</c:v>
                </c:pt>
                <c:pt idx="18">
                  <c:v>0.47785528087427998</c:v>
                </c:pt>
                <c:pt idx="19">
                  <c:v>0.65390722645954102</c:v>
                </c:pt>
                <c:pt idx="20">
                  <c:v>0.67402744881214238</c:v>
                </c:pt>
                <c:pt idx="21">
                  <c:v>0.83331254243690223</c:v>
                </c:pt>
                <c:pt idx="22">
                  <c:v>0.87355298714210494</c:v>
                </c:pt>
                <c:pt idx="23">
                  <c:v>1.0663717846878669</c:v>
                </c:pt>
                <c:pt idx="24">
                  <c:v>1.3581150088005851</c:v>
                </c:pt>
                <c:pt idx="25">
                  <c:v>1.626384640168602</c:v>
                </c:pt>
                <c:pt idx="26">
                  <c:v>1.735369177911859</c:v>
                </c:pt>
                <c:pt idx="27">
                  <c:v>2.3339457929017464</c:v>
                </c:pt>
                <c:pt idx="28">
                  <c:v>3.4640316150395178</c:v>
                </c:pt>
                <c:pt idx="29">
                  <c:v>4.0559014892452048</c:v>
                </c:pt>
                <c:pt idx="30">
                  <c:v>4.4029753248275769</c:v>
                </c:pt>
                <c:pt idx="31">
                  <c:v>4.3962685840433755</c:v>
                </c:pt>
                <c:pt idx="32">
                  <c:v>3.7624815799364359</c:v>
                </c:pt>
                <c:pt idx="33">
                  <c:v>3.3097765770029079</c:v>
                </c:pt>
                <c:pt idx="34">
                  <c:v>2.6340724429947153</c:v>
                </c:pt>
                <c:pt idx="35">
                  <c:v>2.2249612551584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K$2:$K$37</c:f>
              <c:numCache>
                <c:formatCode>General</c:formatCode>
                <c:ptCount val="36"/>
                <c:pt idx="0">
                  <c:v>7.1651377968593361E-2</c:v>
                </c:pt>
                <c:pt idx="1">
                  <c:v>0.11259502252207527</c:v>
                </c:pt>
                <c:pt idx="2">
                  <c:v>7.1651377968593361E-2</c:v>
                </c:pt>
                <c:pt idx="3">
                  <c:v>2.0471822276740961E-2</c:v>
                </c:pt>
                <c:pt idx="4">
                  <c:v>5.1179555691852403E-2</c:v>
                </c:pt>
                <c:pt idx="5">
                  <c:v>7.1651377968593361E-2</c:v>
                </c:pt>
                <c:pt idx="6">
                  <c:v>4.0943644553481921E-2</c:v>
                </c:pt>
                <c:pt idx="7">
                  <c:v>0.13306684479881625</c:v>
                </c:pt>
                <c:pt idx="8">
                  <c:v>7.1651377968593361E-2</c:v>
                </c:pt>
                <c:pt idx="9">
                  <c:v>0.15353866707555719</c:v>
                </c:pt>
                <c:pt idx="10">
                  <c:v>0.32754915642785537</c:v>
                </c:pt>
                <c:pt idx="11">
                  <c:v>0.40943644553481923</c:v>
                </c:pt>
                <c:pt idx="12">
                  <c:v>0.46061600122667157</c:v>
                </c:pt>
                <c:pt idx="13">
                  <c:v>0.71651377968593355</c:v>
                </c:pt>
                <c:pt idx="14">
                  <c:v>0.65509831285571074</c:v>
                </c:pt>
                <c:pt idx="15">
                  <c:v>1.218073425466087</c:v>
                </c:pt>
                <c:pt idx="16">
                  <c:v>2.12906951678106</c:v>
                </c:pt>
                <c:pt idx="17">
                  <c:v>4.0124771662412284</c:v>
                </c:pt>
                <c:pt idx="18">
                  <c:v>6.6840499733559238</c:v>
                </c:pt>
                <c:pt idx="19">
                  <c:v>8.9359504237974292</c:v>
                </c:pt>
                <c:pt idx="20">
                  <c:v>10.174495671540257</c:v>
                </c:pt>
                <c:pt idx="21">
                  <c:v>12.610642522472432</c:v>
                </c:pt>
                <c:pt idx="22">
                  <c:v>13.603525902894367</c:v>
                </c:pt>
                <c:pt idx="23">
                  <c:v>12.559462966780577</c:v>
                </c:pt>
                <c:pt idx="24">
                  <c:v>10.276854782923962</c:v>
                </c:pt>
                <c:pt idx="25">
                  <c:v>8.6493449119230554</c:v>
                </c:pt>
                <c:pt idx="26">
                  <c:v>6.4076803726199199</c:v>
                </c:pt>
                <c:pt idx="27">
                  <c:v>5.1281914803236104</c:v>
                </c:pt>
                <c:pt idx="28">
                  <c:v>4.3400263226690834</c:v>
                </c:pt>
                <c:pt idx="29">
                  <c:v>3.8794103214424118</c:v>
                </c:pt>
                <c:pt idx="30">
                  <c:v>4.6982832125120506</c:v>
                </c:pt>
                <c:pt idx="31">
                  <c:v>6.069895305053695</c:v>
                </c:pt>
                <c:pt idx="32">
                  <c:v>6.817116818154739</c:v>
                </c:pt>
                <c:pt idx="33">
                  <c:v>6.5919267731105888</c:v>
                </c:pt>
                <c:pt idx="34">
                  <c:v>5.9470643713932487</c:v>
                </c:pt>
                <c:pt idx="35">
                  <c:v>4.12507218876330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E$2:$E$37</c:f>
              <c:numCache>
                <c:formatCode>General</c:formatCode>
                <c:ptCount val="36"/>
                <c:pt idx="0">
                  <c:v>0.1154308001911967</c:v>
                </c:pt>
                <c:pt idx="1">
                  <c:v>7.3346654288156232E-2</c:v>
                </c:pt>
                <c:pt idx="2">
                  <c:v>6.8537037613523033E-2</c:v>
                </c:pt>
                <c:pt idx="3">
                  <c:v>7.0941845950839633E-2</c:v>
                </c:pt>
                <c:pt idx="4">
                  <c:v>5.7715400095598349E-2</c:v>
                </c:pt>
                <c:pt idx="5">
                  <c:v>7.0941845950839633E-2</c:v>
                </c:pt>
                <c:pt idx="6">
                  <c:v>9.2585120986689015E-2</c:v>
                </c:pt>
                <c:pt idx="7">
                  <c:v>0.15390773358826226</c:v>
                </c:pt>
                <c:pt idx="8">
                  <c:v>0.1947894753226444</c:v>
                </c:pt>
                <c:pt idx="9">
                  <c:v>0.32344672136908242</c:v>
                </c:pt>
                <c:pt idx="10">
                  <c:v>0.394388567319922</c:v>
                </c:pt>
                <c:pt idx="11">
                  <c:v>0.52184340919770167</c:v>
                </c:pt>
                <c:pt idx="12">
                  <c:v>0.49659292165587743</c:v>
                </c:pt>
                <c:pt idx="13">
                  <c:v>0.46533041327076163</c:v>
                </c:pt>
                <c:pt idx="14">
                  <c:v>0.48216407163197783</c:v>
                </c:pt>
                <c:pt idx="15">
                  <c:v>0.54348668423355107</c:v>
                </c:pt>
                <c:pt idx="16">
                  <c:v>0.71903769285766272</c:v>
                </c:pt>
                <c:pt idx="17">
                  <c:v>1.0220435433595541</c:v>
                </c:pt>
                <c:pt idx="18">
                  <c:v>1.435670577378009</c:v>
                </c:pt>
                <c:pt idx="19">
                  <c:v>1.8913817572995042</c:v>
                </c:pt>
                <c:pt idx="20">
                  <c:v>2.3759506372687986</c:v>
                </c:pt>
                <c:pt idx="21">
                  <c:v>2.9735455090919731</c:v>
                </c:pt>
                <c:pt idx="22">
                  <c:v>3.3739460972551867</c:v>
                </c:pt>
                <c:pt idx="23">
                  <c:v>3.1334652635235272</c:v>
                </c:pt>
                <c:pt idx="24">
                  <c:v>2.9819623382725813</c:v>
                </c:pt>
                <c:pt idx="25">
                  <c:v>2.4204395915091559</c:v>
                </c:pt>
                <c:pt idx="26">
                  <c:v>1.8613216530830465</c:v>
                </c:pt>
                <c:pt idx="27">
                  <c:v>1.4428850023899586</c:v>
                </c:pt>
                <c:pt idx="28">
                  <c:v>1.0965926018163685</c:v>
                </c:pt>
                <c:pt idx="29">
                  <c:v>0.99559065164907157</c:v>
                </c:pt>
                <c:pt idx="30">
                  <c:v>1.005209884998338</c:v>
                </c:pt>
                <c:pt idx="31">
                  <c:v>1.1807608936224496</c:v>
                </c:pt>
                <c:pt idx="32">
                  <c:v>1.3611215189211943</c:v>
                </c:pt>
                <c:pt idx="33">
                  <c:v>1.5162316566781149</c:v>
                </c:pt>
                <c:pt idx="34">
                  <c:v>1.2721436104404802</c:v>
                </c:pt>
                <c:pt idx="35">
                  <c:v>0.848897343072758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G$2:$G$37</c:f>
              <c:numCache>
                <c:formatCode>General</c:formatCode>
                <c:ptCount val="36"/>
                <c:pt idx="0">
                  <c:v>4.0212355705860403E-2</c:v>
                </c:pt>
                <c:pt idx="1">
                  <c:v>6.3190844680637778E-2</c:v>
                </c:pt>
                <c:pt idx="2">
                  <c:v>8.6169333655415153E-2</c:v>
                </c:pt>
                <c:pt idx="3">
                  <c:v>0.16084942282344161</c:v>
                </c:pt>
                <c:pt idx="4">
                  <c:v>0.18957253404191335</c:v>
                </c:pt>
                <c:pt idx="5">
                  <c:v>0.2872311121847172</c:v>
                </c:pt>
                <c:pt idx="6">
                  <c:v>0.24701875647885677</c:v>
                </c:pt>
                <c:pt idx="7">
                  <c:v>0.21829564526038508</c:v>
                </c:pt>
                <c:pt idx="8">
                  <c:v>0.28148648994102282</c:v>
                </c:pt>
                <c:pt idx="9">
                  <c:v>0.22978488974777372</c:v>
                </c:pt>
                <c:pt idx="10">
                  <c:v>0.22404026750407943</c:v>
                </c:pt>
                <c:pt idx="11">
                  <c:v>0.24701875647885677</c:v>
                </c:pt>
                <c:pt idx="12">
                  <c:v>0.12063706711758121</c:v>
                </c:pt>
                <c:pt idx="13">
                  <c:v>0.17233866731083031</c:v>
                </c:pt>
                <c:pt idx="14">
                  <c:v>0.12638168936127556</c:v>
                </c:pt>
                <c:pt idx="15">
                  <c:v>0.2757418676973285</c:v>
                </c:pt>
                <c:pt idx="16">
                  <c:v>0.46531440173924177</c:v>
                </c:pt>
                <c:pt idx="17">
                  <c:v>0.7870132473861251</c:v>
                </c:pt>
                <c:pt idx="18">
                  <c:v>0.95935191469695535</c:v>
                </c:pt>
                <c:pt idx="19">
                  <c:v>1.1316905820077856</c:v>
                </c:pt>
                <c:pt idx="20">
                  <c:v>1.8497683624695784</c:v>
                </c:pt>
                <c:pt idx="21">
                  <c:v>2.3725289866457642</c:v>
                </c:pt>
                <c:pt idx="22">
                  <c:v>2.424230586839013</c:v>
                </c:pt>
                <c:pt idx="23">
                  <c:v>2.4127413423516244</c:v>
                </c:pt>
                <c:pt idx="24">
                  <c:v>1.7233866731083032</c:v>
                </c:pt>
                <c:pt idx="25">
                  <c:v>1.0684997373271479</c:v>
                </c:pt>
                <c:pt idx="26">
                  <c:v>0.76977938065504203</c:v>
                </c:pt>
                <c:pt idx="27">
                  <c:v>0.47680364622663046</c:v>
                </c:pt>
                <c:pt idx="28">
                  <c:v>0.36191120135274363</c:v>
                </c:pt>
                <c:pt idx="29">
                  <c:v>0.2872311121847172</c:v>
                </c:pt>
                <c:pt idx="30">
                  <c:v>0.2872311121847172</c:v>
                </c:pt>
                <c:pt idx="31">
                  <c:v>0.32744346789057754</c:v>
                </c:pt>
                <c:pt idx="32">
                  <c:v>0.4193574237896871</c:v>
                </c:pt>
                <c:pt idx="33">
                  <c:v>0.5227606241761853</c:v>
                </c:pt>
                <c:pt idx="34">
                  <c:v>0.2757418676973285</c:v>
                </c:pt>
                <c:pt idx="35">
                  <c:v>0.30446497891580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J$2:$J$37</c:f>
              <c:numCache>
                <c:formatCode>General</c:formatCode>
                <c:ptCount val="36"/>
                <c:pt idx="0">
                  <c:v>0.2792550045526469</c:v>
                </c:pt>
                <c:pt idx="1">
                  <c:v>0.20812401282697271</c:v>
                </c:pt>
                <c:pt idx="2">
                  <c:v>0.1448964646263734</c:v>
                </c:pt>
                <c:pt idx="3">
                  <c:v>7.113099172567422E-2</c:v>
                </c:pt>
                <c:pt idx="4">
                  <c:v>5.795858585054936E-2</c:v>
                </c:pt>
                <c:pt idx="5">
                  <c:v>6.8496510550649245E-2</c:v>
                </c:pt>
                <c:pt idx="6">
                  <c:v>4.4786179975424507E-2</c:v>
                </c:pt>
                <c:pt idx="7">
                  <c:v>4.4786179975424507E-2</c:v>
                </c:pt>
                <c:pt idx="8">
                  <c:v>6.3227548200599309E-2</c:v>
                </c:pt>
                <c:pt idx="9">
                  <c:v>9.7475803475923925E-2</c:v>
                </c:pt>
                <c:pt idx="10">
                  <c:v>0.12118613405114867</c:v>
                </c:pt>
                <c:pt idx="11">
                  <c:v>0.16333783285154821</c:v>
                </c:pt>
                <c:pt idx="12">
                  <c:v>0.22129641870209754</c:v>
                </c:pt>
                <c:pt idx="13">
                  <c:v>0.32404118452807146</c:v>
                </c:pt>
                <c:pt idx="14">
                  <c:v>0.45839972445434496</c:v>
                </c:pt>
                <c:pt idx="15">
                  <c:v>0.64808236905614292</c:v>
                </c:pt>
                <c:pt idx="16">
                  <c:v>0.87464775010829032</c:v>
                </c:pt>
                <c:pt idx="17">
                  <c:v>1.4911163450641336</c:v>
                </c:pt>
                <c:pt idx="18">
                  <c:v>1.973226400093703</c:v>
                </c:pt>
                <c:pt idx="19">
                  <c:v>2.9453499536779173</c:v>
                </c:pt>
                <c:pt idx="20">
                  <c:v>5.1978313583242679</c:v>
                </c:pt>
                <c:pt idx="21">
                  <c:v>5.8643550956055854</c:v>
                </c:pt>
                <c:pt idx="22">
                  <c:v>6.9655682267660222</c:v>
                </c:pt>
                <c:pt idx="23">
                  <c:v>7.400257620645144</c:v>
                </c:pt>
                <c:pt idx="24">
                  <c:v>7.9192504121250629</c:v>
                </c:pt>
                <c:pt idx="25">
                  <c:v>7.4792920558958924</c:v>
                </c:pt>
                <c:pt idx="26">
                  <c:v>8.6042155176315553</c:v>
                </c:pt>
                <c:pt idx="27">
                  <c:v>5.6904793380539367</c:v>
                </c:pt>
                <c:pt idx="28">
                  <c:v>6.7548097327640244</c:v>
                </c:pt>
                <c:pt idx="29">
                  <c:v>4.0491975660133805</c:v>
                </c:pt>
                <c:pt idx="30">
                  <c:v>3.4696117075078865</c:v>
                </c:pt>
                <c:pt idx="31">
                  <c:v>3.7172529379602337</c:v>
                </c:pt>
                <c:pt idx="32">
                  <c:v>4.0307561977882056</c:v>
                </c:pt>
                <c:pt idx="33">
                  <c:v>4.4680800728423504</c:v>
                </c:pt>
                <c:pt idx="34">
                  <c:v>3.9543562437124811</c:v>
                </c:pt>
                <c:pt idx="35">
                  <c:v>3.23514288293066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B$2:$B$37</c:f>
              <c:numCache>
                <c:formatCode>General</c:formatCode>
                <c:ptCount val="36"/>
                <c:pt idx="0">
                  <c:v>0.10111150756808399</c:v>
                </c:pt>
                <c:pt idx="1">
                  <c:v>2.2469223904018665E-2</c:v>
                </c:pt>
                <c:pt idx="2">
                  <c:v>4.4938447808037331E-2</c:v>
                </c:pt>
                <c:pt idx="3">
                  <c:v>5.6173059760046662E-2</c:v>
                </c:pt>
                <c:pt idx="4">
                  <c:v>4.4938447808037331E-2</c:v>
                </c:pt>
                <c:pt idx="5">
                  <c:v>0.10111150756808399</c:v>
                </c:pt>
                <c:pt idx="6">
                  <c:v>8.9876895616074662E-2</c:v>
                </c:pt>
                <c:pt idx="7">
                  <c:v>7.8642283664065324E-2</c:v>
                </c:pt>
                <c:pt idx="8">
                  <c:v>0.30333452270425199</c:v>
                </c:pt>
                <c:pt idx="9">
                  <c:v>0.41568064222434531</c:v>
                </c:pt>
                <c:pt idx="10">
                  <c:v>0.42691525417635462</c:v>
                </c:pt>
                <c:pt idx="11">
                  <c:v>0.71901516492859729</c:v>
                </c:pt>
                <c:pt idx="12">
                  <c:v>0.75271900078462528</c:v>
                </c:pt>
                <c:pt idx="13">
                  <c:v>0.62913826931252259</c:v>
                </c:pt>
                <c:pt idx="14">
                  <c:v>0.68531132907256931</c:v>
                </c:pt>
                <c:pt idx="15">
                  <c:v>0.86506512030471872</c:v>
                </c:pt>
                <c:pt idx="16">
                  <c:v>0.82012667249668136</c:v>
                </c:pt>
                <c:pt idx="17">
                  <c:v>1.0223496876328493</c:v>
                </c:pt>
                <c:pt idx="18">
                  <c:v>1.6739571808493905</c:v>
                </c:pt>
                <c:pt idx="19">
                  <c:v>2.9771721672824731</c:v>
                </c:pt>
                <c:pt idx="20">
                  <c:v>3.4377912573148559</c:v>
                </c:pt>
                <c:pt idx="21">
                  <c:v>4.38149866128364</c:v>
                </c:pt>
                <c:pt idx="22">
                  <c:v>4.246683317859528</c:v>
                </c:pt>
                <c:pt idx="23">
                  <c:v>3.3928528095068189</c:v>
                </c:pt>
                <c:pt idx="24">
                  <c:v>2.3929723457779879</c:v>
                </c:pt>
                <c:pt idx="25">
                  <c:v>1.2133380908170079</c:v>
                </c:pt>
                <c:pt idx="26">
                  <c:v>1.1009919712969145</c:v>
                </c:pt>
                <c:pt idx="27">
                  <c:v>0.75271900078462528</c:v>
                </c:pt>
                <c:pt idx="28">
                  <c:v>0.67407671712055994</c:v>
                </c:pt>
                <c:pt idx="29">
                  <c:v>0.70778055297658804</c:v>
                </c:pt>
                <c:pt idx="30">
                  <c:v>1.0223496876328493</c:v>
                </c:pt>
                <c:pt idx="31">
                  <c:v>1.2919803744810732</c:v>
                </c:pt>
                <c:pt idx="32">
                  <c:v>1.6739571808493905</c:v>
                </c:pt>
                <c:pt idx="33">
                  <c:v>1.8087725242735027</c:v>
                </c:pt>
                <c:pt idx="34">
                  <c:v>2.1008724350257451</c:v>
                </c:pt>
                <c:pt idx="35">
                  <c:v>1.86494558403354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L$2:$L$37</c:f>
              <c:numCache>
                <c:formatCode>0.00000</c:formatCode>
                <c:ptCount val="36"/>
                <c:pt idx="0" formatCode="General">
                  <c:v>7.3288623608500969E-2</c:v>
                </c:pt>
                <c:pt idx="1">
                  <c:v>0.14657724721700194</c:v>
                </c:pt>
                <c:pt idx="2" formatCode="General">
                  <c:v>0.10993293541275144</c:v>
                </c:pt>
                <c:pt idx="3" formatCode="General">
                  <c:v>0.1282550913148767</c:v>
                </c:pt>
                <c:pt idx="4" formatCode="General">
                  <c:v>0.10993293541275144</c:v>
                </c:pt>
                <c:pt idx="5" formatCode="General">
                  <c:v>1.8322155902125242E-2</c:v>
                </c:pt>
                <c:pt idx="6" formatCode="General">
                  <c:v>5.496646770637572E-2</c:v>
                </c:pt>
                <c:pt idx="7" formatCode="General">
                  <c:v>5.496646770637572E-2</c:v>
                </c:pt>
                <c:pt idx="8" formatCode="General">
                  <c:v>1.8322155902125242E-2</c:v>
                </c:pt>
                <c:pt idx="9" formatCode="General">
                  <c:v>5.496646770637572E-2</c:v>
                </c:pt>
                <c:pt idx="10" formatCode="General">
                  <c:v>0.16489940311912718</c:v>
                </c:pt>
                <c:pt idx="11" formatCode="General">
                  <c:v>0.23818802672762815</c:v>
                </c:pt>
                <c:pt idx="12" formatCode="General">
                  <c:v>0.42140958574888054</c:v>
                </c:pt>
                <c:pt idx="13" formatCode="General">
                  <c:v>1.4657724721700194</c:v>
                </c:pt>
                <c:pt idx="14" formatCode="General">
                  <c:v>1.0810071982253893</c:v>
                </c:pt>
                <c:pt idx="15" formatCode="General">
                  <c:v>2.1803365523529039</c:v>
                </c:pt>
                <c:pt idx="16" formatCode="General">
                  <c:v>1.1542958218338903</c:v>
                </c:pt>
                <c:pt idx="17" formatCode="General">
                  <c:v>2.345235955472031</c:v>
                </c:pt>
                <c:pt idx="18" formatCode="General">
                  <c:v>4.1041629220760543</c:v>
                </c:pt>
                <c:pt idx="19" formatCode="General">
                  <c:v>6.0279892917992042</c:v>
                </c:pt>
                <c:pt idx="20" formatCode="General">
                  <c:v>5.8814120445822029</c:v>
                </c:pt>
                <c:pt idx="21" formatCode="General">
                  <c:v>7.7319497906968531</c:v>
                </c:pt>
                <c:pt idx="22" formatCode="General">
                  <c:v>10.242085149288009</c:v>
                </c:pt>
                <c:pt idx="23" formatCode="General">
                  <c:v>9.4359102895944993</c:v>
                </c:pt>
                <c:pt idx="24" formatCode="General">
                  <c:v>11.964367804087782</c:v>
                </c:pt>
                <c:pt idx="25" formatCode="General">
                  <c:v>6.9074527751012162</c:v>
                </c:pt>
                <c:pt idx="26" formatCode="General">
                  <c:v>5.4050359911269457</c:v>
                </c:pt>
                <c:pt idx="27" formatCode="General">
                  <c:v>4.5622168196291852</c:v>
                </c:pt>
                <c:pt idx="28" formatCode="General">
                  <c:v>6.6509425924714627</c:v>
                </c:pt>
                <c:pt idx="29" formatCode="General">
                  <c:v>5.9180563563864537</c:v>
                </c:pt>
                <c:pt idx="30" formatCode="General">
                  <c:v>2.8399341648294123</c:v>
                </c:pt>
                <c:pt idx="31" formatCode="General">
                  <c:v>2.6200682940039095</c:v>
                </c:pt>
                <c:pt idx="32" formatCode="General">
                  <c:v>2.4185245790805316</c:v>
                </c:pt>
                <c:pt idx="33" formatCode="General">
                  <c:v>2.6933569176124106</c:v>
                </c:pt>
                <c:pt idx="34" formatCode="General">
                  <c:v>4.2690623251951809</c:v>
                </c:pt>
                <c:pt idx="35" formatCode="General">
                  <c:v>4.01255214256542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7</c:f>
              <c:numCache>
                <c:formatCode>General</c:formatCode>
                <c:ptCount val="36"/>
                <c:pt idx="0">
                  <c:v>0.18591831839247247</c:v>
                </c:pt>
                <c:pt idx="1">
                  <c:v>0.1880310265560233</c:v>
                </c:pt>
                <c:pt idx="2">
                  <c:v>0.33803330616813176</c:v>
                </c:pt>
                <c:pt idx="3">
                  <c:v>0.78170202051380466</c:v>
                </c:pt>
                <c:pt idx="4">
                  <c:v>1.1556513654623006</c:v>
                </c:pt>
                <c:pt idx="5">
                  <c:v>1.4197398859061534</c:v>
                </c:pt>
                <c:pt idx="6">
                  <c:v>1.664814032878049</c:v>
                </c:pt>
                <c:pt idx="7">
                  <c:v>1.4831211308126782</c:v>
                </c:pt>
                <c:pt idx="8">
                  <c:v>1.3098790614015108</c:v>
                </c:pt>
                <c:pt idx="9">
                  <c:v>1.1324115756632414</c:v>
                </c:pt>
                <c:pt idx="10">
                  <c:v>0.88522472052779499</c:v>
                </c:pt>
                <c:pt idx="11">
                  <c:v>0.74156056540633908</c:v>
                </c:pt>
                <c:pt idx="12">
                  <c:v>0.49648641843444352</c:v>
                </c:pt>
                <c:pt idx="13">
                  <c:v>0.38451288576624992</c:v>
                </c:pt>
                <c:pt idx="14">
                  <c:v>0.30422997555131859</c:v>
                </c:pt>
                <c:pt idx="15">
                  <c:v>0.27253935309805627</c:v>
                </c:pt>
                <c:pt idx="16">
                  <c:v>0.26197581228030214</c:v>
                </c:pt>
                <c:pt idx="17">
                  <c:v>0.22183435717283648</c:v>
                </c:pt>
                <c:pt idx="18">
                  <c:v>0.21338352451863316</c:v>
                </c:pt>
                <c:pt idx="19">
                  <c:v>0.35282226331298755</c:v>
                </c:pt>
                <c:pt idx="20">
                  <c:v>0.32535705718682684</c:v>
                </c:pt>
                <c:pt idx="21">
                  <c:v>0.3760620531120466</c:v>
                </c:pt>
                <c:pt idx="22">
                  <c:v>0.56831849599517159</c:v>
                </c:pt>
                <c:pt idx="23">
                  <c:v>0.69085556948111926</c:v>
                </c:pt>
                <c:pt idx="24">
                  <c:v>0.98029658788758212</c:v>
                </c:pt>
                <c:pt idx="25">
                  <c:v>1.1345242838267922</c:v>
                </c:pt>
                <c:pt idx="26">
                  <c:v>1.413401761415501</c:v>
                </c:pt>
                <c:pt idx="27">
                  <c:v>1.8739721410695804</c:v>
                </c:pt>
                <c:pt idx="28">
                  <c:v>2.573278543204903</c:v>
                </c:pt>
                <c:pt idx="29">
                  <c:v>2.9958201759150676</c:v>
                </c:pt>
                <c:pt idx="30">
                  <c:v>3.3085009841205899</c:v>
                </c:pt>
                <c:pt idx="31">
                  <c:v>3.1669495371626848</c:v>
                </c:pt>
                <c:pt idx="32">
                  <c:v>2.5542641697329458</c:v>
                </c:pt>
                <c:pt idx="33">
                  <c:v>1.7345334022752261</c:v>
                </c:pt>
                <c:pt idx="34">
                  <c:v>1.0584667899389626</c:v>
                </c:pt>
                <c:pt idx="35">
                  <c:v>0.50493725108864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B9DB-4435-AD02-84089FF3FB66}"/>
              </c:ext>
            </c:extLst>
          </c:dPt>
          <c:cat>
            <c:strRef>
              <c:f>List1!$A$2:$A$37</c:f>
              <c:strCache>
                <c:ptCount val="36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</c:strCache>
            </c:strRef>
          </c:cat>
          <c:val>
            <c:numRef>
              <c:f>List1!$H$2:$H$37</c:f>
              <c:numCache>
                <c:formatCode>General</c:formatCode>
                <c:ptCount val="36"/>
                <c:pt idx="0">
                  <c:v>0.24831081426067519</c:v>
                </c:pt>
                <c:pt idx="1">
                  <c:v>0.37760875304729896</c:v>
                </c:pt>
                <c:pt idx="2">
                  <c:v>0.52306893418225076</c:v>
                </c:pt>
                <c:pt idx="3">
                  <c:v>0.73464737946945324</c:v>
                </c:pt>
                <c:pt idx="4">
                  <c:v>0.893331213434855</c:v>
                </c:pt>
                <c:pt idx="5">
                  <c:v>0.89039262391697738</c:v>
                </c:pt>
                <c:pt idx="6">
                  <c:v>0.95063370903347244</c:v>
                </c:pt>
                <c:pt idx="7">
                  <c:v>1.0960938901684243</c:v>
                </c:pt>
                <c:pt idx="8">
                  <c:v>1.2180453551603534</c:v>
                </c:pt>
                <c:pt idx="9">
                  <c:v>1.335588935875466</c:v>
                </c:pt>
                <c:pt idx="10">
                  <c:v>1.5104350121891958</c:v>
                </c:pt>
                <c:pt idx="11">
                  <c:v>1.4487246323137617</c:v>
                </c:pt>
                <c:pt idx="12">
                  <c:v>1.3150188092503212</c:v>
                </c:pt>
                <c:pt idx="13">
                  <c:v>1.1710279228743086</c:v>
                </c:pt>
                <c:pt idx="14">
                  <c:v>1.148988501490225</c:v>
                </c:pt>
                <c:pt idx="15">
                  <c:v>1.337058230634405</c:v>
                </c:pt>
                <c:pt idx="16">
                  <c:v>1.4972113593587457</c:v>
                </c:pt>
                <c:pt idx="17">
                  <c:v>1.7322985207889707</c:v>
                </c:pt>
                <c:pt idx="18">
                  <c:v>1.6867503832618647</c:v>
                </c:pt>
                <c:pt idx="19">
                  <c:v>1.4766412327336012</c:v>
                </c:pt>
                <c:pt idx="20">
                  <c:v>1.3914221367151445</c:v>
                </c:pt>
                <c:pt idx="21">
                  <c:v>1.2797557350357875</c:v>
                </c:pt>
                <c:pt idx="22">
                  <c:v>1.2283304184729258</c:v>
                </c:pt>
                <c:pt idx="23">
                  <c:v>1.1960059337762698</c:v>
                </c:pt>
                <c:pt idx="24">
                  <c:v>1.1519270910081025</c:v>
                </c:pt>
                <c:pt idx="25">
                  <c:v>1.2062909970888422</c:v>
                </c:pt>
                <c:pt idx="27">
                  <c:v>2.3640952671327007</c:v>
                </c:pt>
                <c:pt idx="28">
                  <c:v>2.8166380528858839</c:v>
                </c:pt>
                <c:pt idx="29">
                  <c:v>2.7152567145190991</c:v>
                </c:pt>
                <c:pt idx="30">
                  <c:v>1.7837238373518325</c:v>
                </c:pt>
                <c:pt idx="31">
                  <c:v>2.1657404746759479</c:v>
                </c:pt>
                <c:pt idx="32">
                  <c:v>1.8909823547543727</c:v>
                </c:pt>
                <c:pt idx="33">
                  <c:v>1.4340316847243728</c:v>
                </c:pt>
                <c:pt idx="34">
                  <c:v>1.1460499119723471</c:v>
                </c:pt>
                <c:pt idx="35">
                  <c:v>1.15486568052598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1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5820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8983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34142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27895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026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11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32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chart" Target="../charts/chart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chart" Target="../charts/chart7.xml"/><Relationship Id="rId4" Type="http://schemas.openxmlformats.org/officeDocument/2006/relationships/tags" Target="../tags/tag42.xml"/><Relationship Id="rId9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10" Type="http://schemas.openxmlformats.org/officeDocument/2006/relationships/chart" Target="../charts/chart8.xml"/><Relationship Id="rId4" Type="http://schemas.openxmlformats.org/officeDocument/2006/relationships/tags" Target="../tags/tag58.xml"/><Relationship Id="rId9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10" Type="http://schemas.openxmlformats.org/officeDocument/2006/relationships/chart" Target="../charts/chart9.xml"/><Relationship Id="rId4" Type="http://schemas.openxmlformats.org/officeDocument/2006/relationships/tags" Target="../tags/tag65.xml"/><Relationship Id="rId9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0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1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chart" Target="../charts/chart1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chart" Target="../charts/chart1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chart" Target="../charts/chart2.xml"/><Relationship Id="rId4" Type="http://schemas.openxmlformats.org/officeDocument/2006/relationships/tags" Target="../tags/tag9.xml"/><Relationship Id="rId9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chart" Target="../charts/chart3.xml"/><Relationship Id="rId4" Type="http://schemas.openxmlformats.org/officeDocument/2006/relationships/tags" Target="../tags/tag16.xml"/><Relationship Id="rId9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22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0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7387624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2. 20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6.3. 2022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Chorvatska nejsou dostupné údaje o počtu provedených testů za 8. týden roku 2022. </a:t>
            </a:r>
            <a:r>
              <a:rPr lang="cs-CZ" sz="1100" dirty="0">
                <a:solidFill>
                  <a:schemeClr val="tx1"/>
                </a:solidFill>
              </a:rPr>
              <a:t>Data pro tento týden byla převzata z reportu k 3.3.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4362063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0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6498067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8. týdnu (</a:t>
            </a:r>
            <a:r>
              <a:rPr lang="cs-CZ" sz="1600" dirty="0">
                <a:solidFill>
                  <a:srgbClr val="000000"/>
                </a:solidFill>
              </a:rPr>
              <a:t>21.2.—27.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a 9. </a:t>
            </a:r>
            <a:r>
              <a:rPr lang="cs-CZ" sz="1600" dirty="0">
                <a:solidFill>
                  <a:srgbClr val="000000"/>
                </a:solidFill>
              </a:rPr>
              <a:t>týdnu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2 </a:t>
            </a:r>
          </a:p>
          <a:p>
            <a:pPr lvl="0" algn="ctr">
              <a:defRPr/>
            </a:pPr>
            <a:r>
              <a:rPr lang="cs-CZ" sz="1600" dirty="0">
                <a:solidFill>
                  <a:srgbClr val="000000"/>
                </a:solidFill>
              </a:rPr>
              <a:t>(28.2.—6.3.)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Chorvatska nejsou dostupné údaje o počtu provedených testů za 8. týden roku 2022. </a:t>
            </a:r>
            <a:r>
              <a:rPr lang="cs-CZ" sz="1100" dirty="0">
                <a:solidFill>
                  <a:schemeClr val="tx1"/>
                </a:solidFill>
              </a:rPr>
              <a:t>Data pro tento týden byla převzata z reportu k 3.3.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4491918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0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0349917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364132" y="392403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391649" y="441084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98000" y="461834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90275" y="420994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6.3. 2022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0.3. 2022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6728373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15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42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4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4,1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4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8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3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4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3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7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8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4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7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3493532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6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8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4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3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9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8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8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6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9240302-8EF9-44FF-BE9E-83ECEB3AB4ED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2402713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4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1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4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4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42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4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4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3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7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4,1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3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035898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8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6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8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9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8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8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6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2199946-02DE-42BF-806B-1FDEE8F5FB8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0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7B1BD28-10EF-4703-B505-F31E255AC1EA}"/>
              </a:ext>
            </a:extLst>
          </p:cNvPr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ADB589D1-4971-40F7-BC58-E4364F4933B9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460090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4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1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42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4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4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4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3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7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4,1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8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3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1729995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8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7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6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8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8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8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9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3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6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05B2A00-318E-49DC-8B3F-6321E7CB57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0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FABB83D-5FFB-44C0-BA3C-FCF7D4C844B1}"/>
              </a:ext>
            </a:extLst>
          </p:cNvPr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3F6892A-7689-4C32-BFEC-21E96E9890B3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0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604106"/>
              </p:ext>
            </p:extLst>
          </p:nvPr>
        </p:nvGraphicFramePr>
        <p:xfrm>
          <a:off x="1058400" y="994713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54066" y="442208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881" y="419457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2692" y="461002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60976" y="478820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9. týdne roku 2022 (28.2.—6.3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u této země pro 52. a 1.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0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080850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56643" y="457659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56644" y="439968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6920" y="475364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43282" y="492613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59226529-17EF-4D97-A0A2-10EBEC6C052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9. týdne roku 2022 (28.2.—6.3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u této země pro tento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0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126242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6.3. 2022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  <a:p>
            <a:pPr algn="ctr"/>
            <a:endParaRPr lang="cs-CZ" sz="1600" b="1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a počtu úmrtí za 52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442128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3411073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9.3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59783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0.3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2856767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6154995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9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5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3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3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2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1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0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9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9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9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0088235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9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5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4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3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0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9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8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5,1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6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0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0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5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0.3. 2022</a:t>
            </a:r>
          </a:p>
        </p:txBody>
      </p:sp>
    </p:spTree>
    <p:extLst>
      <p:ext uri="{BB962C8B-B14F-4D97-AF65-F5344CB8AC3E}">
        <p14:creationId xmlns:p14="http://schemas.microsoft.com/office/powerpoint/2010/main" val="22290917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8849813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9.3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61474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0.3. 2022</a:t>
            </a:r>
          </a:p>
        </p:txBody>
      </p:sp>
      <p:sp>
        <p:nvSpPr>
          <p:cNvPr id="15" name="Obdélník 14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730959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9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2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1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0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9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7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7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5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3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825314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9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2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2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1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1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8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7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4,2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0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6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5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9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5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0.3. 2022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537399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 vykázaným očkováním posilující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 9.3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745633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0.3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3042258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74736"/>
              </p:ext>
            </p:extLst>
          </p:nvPr>
        </p:nvGraphicFramePr>
        <p:xfrm>
          <a:off x="775744" y="840581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9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7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5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8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7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4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2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2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6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6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4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2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2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6519233"/>
              </p:ext>
            </p:extLst>
          </p:nvPr>
        </p:nvGraphicFramePr>
        <p:xfrm>
          <a:off x="6058960" y="857516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8767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9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1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0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9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5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6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5,8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0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8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0.3. 2022</a:t>
            </a:r>
          </a:p>
        </p:txBody>
      </p:sp>
    </p:spTree>
    <p:extLst>
      <p:ext uri="{BB962C8B-B14F-4D97-AF65-F5344CB8AC3E}">
        <p14:creationId xmlns:p14="http://schemas.microsoft.com/office/powerpoint/2010/main" val="12319774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0.3. 2022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 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očkováním posilující 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9.3. 2022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7639126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00106" y="6193805"/>
            <a:ext cx="73900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posilující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 fontScale="90000"/>
          </a:bodyPr>
          <a:lstStyle/>
          <a:p>
            <a:r>
              <a:rPr lang="cs-CZ" sz="2000" dirty="0">
                <a:latin typeface="+mj-lt"/>
              </a:rPr>
              <a:t>Srovnání podílů osob s vykázaným úplným očkováním a osob s vykázaným očkováním posilující dávkou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5104019" y="690389"/>
            <a:ext cx="70757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6385146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20.2. 2022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6.3. 2022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0.3. 2022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18506942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4925881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0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671668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9. týdne roku 2022 (28.2.—6.3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2. týden roku 2021, a proto nebyla u této země pro 52. a 1. týden analýza provedena.</a:t>
            </a:r>
            <a:endParaRPr lang="cs-CZ" sz="1100" b="1" u="sng" dirty="0">
              <a:solidFill>
                <a:schemeClr val="tx1"/>
              </a:solidFill>
            </a:endParaRP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70846" y="409157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3669" y="532429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93822" y="512578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77196" y="487737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0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396879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9. týdne roku 2022 (28.2.—6.3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2. týden roku 2021, a proto nebyla u této země pro tento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19BC0D0-959D-4E8E-A71C-05A83CEEEA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577" y="449875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9EBFAB1-1614-4ECE-A214-7AF399DB035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8730" y="535755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1AA9DE3-6FB8-4639-B002-0E7FCE4D52A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77196" y="517565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B9D7D5B-AF10-44B6-8594-DAA0A2D6545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52146" y="499574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0.3. 2022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7. týdnu vs. 6. týdnu a 9. týdnu vs. 8. týdnu roku 2022.</a:t>
            </a: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7440022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5348018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6123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31.1. 2022—6.3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56 8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6 3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7 48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5 24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1 35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8 74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8 56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7 84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5 34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3 47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2 90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 70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 75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2 2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 86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31.1. 2022 do 6.3. 2022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98499529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31.1. 2022—6.3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 7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9 5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7 0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 65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5 27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 77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 3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 07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 3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 38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 2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 4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 4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 0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 26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0.3. 2022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10928"/>
            <a:ext cx="50136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Chorvatska nejsou dostupné údaje o počtu provedených testů za 8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2. Data pro tento týden byla převzata z reportu k 3.3.2022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22194</TotalTime>
  <Words>3318</Words>
  <Application>Microsoft Office PowerPoint</Application>
  <PresentationFormat>Širokoúhlá obrazovka</PresentationFormat>
  <Paragraphs>1064</Paragraphs>
  <Slides>27</Slides>
  <Notes>22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7</vt:i4>
      </vt:variant>
    </vt:vector>
  </HeadingPairs>
  <TitlesOfParts>
    <vt:vector size="31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  od 31.1. 2022 do 6.3. 2022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očkováním 1. dávkou v zemích EU a EHP</vt:lpstr>
      <vt:lpstr>Podíl osob s vykázaným očkováním 1. dávkou v zemích EU a EHP</vt:lpstr>
      <vt:lpstr>Podíl osob s vykázaným úplným očkováním v zemích EU a EHP</vt:lpstr>
      <vt:lpstr>Podíl osob s vykázaným úplným očkováním v zemích EU a EHP</vt:lpstr>
      <vt:lpstr>Podíl osob s vykázaným očkováním posilující dávkou v zemích EU a EHP</vt:lpstr>
      <vt:lpstr>Podíl osob s vykázaným očkováním posilující dávkou v zemích EU a EHP</vt:lpstr>
      <vt:lpstr>Srovnání podílů osob s vykázaným úplným očkováním a osob s vykázaným očkováním posilující dávkou v zemích EU a EH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Kouřil Jan Mgr.</cp:lastModifiedBy>
  <cp:revision>1265</cp:revision>
  <dcterms:created xsi:type="dcterms:W3CDTF">2020-11-14T13:18:43Z</dcterms:created>
  <dcterms:modified xsi:type="dcterms:W3CDTF">2022-03-11T07:20:17Z</dcterms:modified>
</cp:coreProperties>
</file>